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</p:sldMasterIdLst>
  <p:notesMasterIdLst>
    <p:notesMasterId r:id="rId18"/>
  </p:notesMasterIdLst>
  <p:handoutMasterIdLst>
    <p:handoutMasterId r:id="rId19"/>
  </p:handoutMasterIdLst>
  <p:sldIdLst>
    <p:sldId id="262" r:id="rId3"/>
    <p:sldId id="1123" r:id="rId4"/>
    <p:sldId id="1130" r:id="rId5"/>
    <p:sldId id="1132" r:id="rId6"/>
    <p:sldId id="1133" r:id="rId7"/>
    <p:sldId id="1129" r:id="rId8"/>
    <p:sldId id="1125" r:id="rId9"/>
    <p:sldId id="1126" r:id="rId10"/>
    <p:sldId id="1131" r:id="rId11"/>
    <p:sldId id="310" r:id="rId12"/>
    <p:sldId id="333" r:id="rId13"/>
    <p:sldId id="338" r:id="rId14"/>
    <p:sldId id="287" r:id="rId15"/>
    <p:sldId id="1124" r:id="rId16"/>
    <p:sldId id="1115" r:id="rId17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99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, Edith" initials="FE" lastIdx="5" clrIdx="0">
    <p:extLst>
      <p:ext uri="{19B8F6BF-5375-455C-9EA6-DF929625EA0E}">
        <p15:presenceInfo xmlns:p15="http://schemas.microsoft.com/office/powerpoint/2012/main" userId="S::edith.franc@wienerboerse.at::5d98f047-f4c6-45b1-82d1-0157015ed4c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8AC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535"/>
    <p:restoredTop sz="94566"/>
  </p:normalViewPr>
  <p:slideViewPr>
    <p:cSldViewPr>
      <p:cViewPr varScale="1">
        <p:scale>
          <a:sx n="142" d="100"/>
          <a:sy n="142" d="100"/>
        </p:scale>
        <p:origin x="1236" y="120"/>
      </p:cViewPr>
      <p:guideLst>
        <p:guide orient="horz" pos="2799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171" d="100"/>
          <a:sy n="171" d="100"/>
        </p:scale>
        <p:origin x="4400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image" Target="../media/image35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8.emf"/><Relationship Id="rId1" Type="http://schemas.openxmlformats.org/officeDocument/2006/relationships/image" Target="../media/image3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64BFC69C-D901-1749-94DB-727DC73F50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7AFFC19-8FBB-1E45-BB82-BEEB1E561A3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AEAF15-D37E-8B4A-8BF2-8D0CC74C9873}" type="datetimeFigureOut">
              <a:rPr lang="de-DE" smtClean="0"/>
              <a:t>13.01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C5C878-804B-294F-90DA-1E4021B134D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720AE0-273E-E046-BBAD-9B840834E39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3D1611-9CB8-624E-BD26-48C45077201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5028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E6AA77-97CC-4EEA-8AAC-D5BB9CF34CA6}" type="datetimeFigureOut">
              <a:rPr lang="de-AT" smtClean="0"/>
              <a:t>13.01.2021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623240-E69F-43EE-82F4-D39E432F10F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8714033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623240-E69F-43EE-82F4-D39E432F10FD}" type="slidenum">
              <a:rPr lang="de-AT" smtClean="0"/>
              <a:t>1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1796513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Quelle: Monatsstatistik,</a:t>
            </a:r>
            <a:r>
              <a:rPr lang="de-DE" baseline="0" dirty="0"/>
              <a:t> FESE (Marktkapitalisierung)</a:t>
            </a:r>
          </a:p>
          <a:p>
            <a:r>
              <a:rPr lang="de-AT" baseline="0" dirty="0"/>
              <a:t>Update: Maria Zorn Q4 2020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43198C-F4FD-4139-9C50-35ECC65B1949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2018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4944">
              <a:defRPr/>
            </a:pPr>
            <a:r>
              <a:rPr lang="de-DE" dirty="0"/>
              <a:t>Quelle: Monatsstatistik,</a:t>
            </a:r>
            <a:r>
              <a:rPr lang="de-DE" baseline="0" dirty="0"/>
              <a:t> FESE (Marktkapitalisierung)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43198C-F4FD-4139-9C50-35ECC65B1949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84303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43198C-F4FD-4139-9C50-35ECC65B1949}" type="slidenum">
              <a:rPr lang="de-AT" smtClean="0"/>
              <a:pPr>
                <a:defRPr/>
              </a:pPr>
              <a:t>1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70850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43198C-F4FD-4139-9C50-35ECC65B1949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23511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13" t="18904" b="3985"/>
          <a:stretch/>
        </p:blipFill>
        <p:spPr>
          <a:xfrm>
            <a:off x="0" y="-1"/>
            <a:ext cx="6143624" cy="5143501"/>
          </a:xfrm>
          <a:prstGeom prst="rect">
            <a:avLst/>
          </a:prstGeom>
        </p:spPr>
      </p:pic>
      <p:sp>
        <p:nvSpPr>
          <p:cNvPr id="3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61950" y="4446402"/>
            <a:ext cx="6032369" cy="324036"/>
          </a:xfrm>
          <a:prstGeom prst="rect">
            <a:avLst/>
          </a:prstGeom>
        </p:spPr>
        <p:txBody>
          <a:bodyPr anchor="ctr" anchorCtr="0"/>
          <a:lstStyle>
            <a:lvl1pPr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Subheadline 2 Beispieltext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71475" y="3803874"/>
            <a:ext cx="5583061" cy="520476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Headline 1 Beispieltext</a:t>
            </a:r>
          </a:p>
        </p:txBody>
      </p:sp>
      <p:sp>
        <p:nvSpPr>
          <p:cNvPr id="2" name="Rechteck 1"/>
          <p:cNvSpPr/>
          <p:nvPr userDrawn="1"/>
        </p:nvSpPr>
        <p:spPr bwMode="auto">
          <a:xfrm>
            <a:off x="7705725" y="171450"/>
            <a:ext cx="1333500" cy="8572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400">
              <a:solidFill>
                <a:srgbClr val="000000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CAF6F48-8F47-A64A-8AB7-28A13BC7E0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4068" y="368951"/>
            <a:ext cx="1230420" cy="93372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E9E7F41-5905-0642-B70D-736A8B89B53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4068" y="4188524"/>
            <a:ext cx="1008112" cy="63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0348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907FF2-DF54-8C4E-ABDD-AAAC036240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C836075-F067-7645-83D9-BF39F6F070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3DA881-4E4C-EE4C-AD48-30412B373F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63C0C04-5FF5-B84B-9BB5-605970C29BFF}" type="datetimeFigureOut">
              <a:rPr lang="de-DE" smtClean="0"/>
              <a:t>13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9885A0-49FC-0748-B46B-82C9ACAC97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2152D9-8907-AA48-A355-4CB5D6300E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FF1BF6A-77C2-1B4F-BE67-733D6CA3A2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24446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96FAEA-7730-0445-AF85-B341C70509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C85E1CC-F789-9848-B5B3-CE0D9F364B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71E24F-D2FE-6647-A87F-8DEB9AA08D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63C0C04-5FF5-B84B-9BB5-605970C29BFF}" type="datetimeFigureOut">
              <a:rPr lang="de-DE" smtClean="0"/>
              <a:t>13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7173BF-C2C3-8B4D-A626-2F66EC3403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EA0A25-00D3-E14D-B1C7-13126AD61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FF1BF6A-77C2-1B4F-BE67-733D6CA3A2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4101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63DAAC-0A4E-B340-805D-6AF393F6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D57324-C447-2C44-8179-13629658C8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590EF8F-2925-EB46-951C-D6A36FAEC8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FFE7E5-B127-0D48-978E-866B8CEFA7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63C0C04-5FF5-B84B-9BB5-605970C29BFF}" type="datetimeFigureOut">
              <a:rPr lang="de-DE" smtClean="0"/>
              <a:t>13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64611E8-C875-F144-89D6-8DDE14D544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DCA45FB-D7DD-5C4D-AD14-58BFEC3EA5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FF1BF6A-77C2-1B4F-BE67-733D6CA3A2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98565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75950E-C671-8B47-A4E5-87E524021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636F0B3-9E93-CC4A-8376-84CFC98B8C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1046CC6-CFCF-9446-9EEE-C63E7FF78F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B15D584-881D-DC49-922E-E247E0283D6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7B6C3D0-0056-5243-B04A-8B0CB366256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D3BD039-BC87-2F43-8977-24994615D7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63C0C04-5FF5-B84B-9BB5-605970C29BFF}" type="datetimeFigureOut">
              <a:rPr lang="de-DE" smtClean="0"/>
              <a:t>13.01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4FA4915-2252-6B4E-863B-18BCD4E230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ADC364C-095E-2748-B85D-4D6C70964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FF1BF6A-77C2-1B4F-BE67-733D6CA3A2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08354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7358FC-2BBE-3A4D-BF9C-D80112E66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ECBCCA-B6B4-EF43-8E05-4E3C095185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63C0C04-5FF5-B84B-9BB5-605970C29BFF}" type="datetimeFigureOut">
              <a:rPr lang="de-DE" smtClean="0"/>
              <a:t>13.01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AC5F83B-8572-6846-A420-F8026CB5B0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227B6EB-D14B-7F43-87CD-40EBD970D4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FF1BF6A-77C2-1B4F-BE67-733D6CA3A2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73777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43C385-8E75-3942-A079-7D2F52FFC2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63C0C04-5FF5-B84B-9BB5-605970C29BFF}" type="datetimeFigureOut">
              <a:rPr lang="de-DE" smtClean="0"/>
              <a:t>13.01.20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D8587EB-6973-2447-83C5-324588AFB0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0CA84AF-E12D-B44C-8121-9CE685353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FF1BF6A-77C2-1B4F-BE67-733D6CA3A2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10488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3DF5EB-A1B1-A74D-8DD3-0C88418FE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2B5AB1-D86C-2C4A-A42D-9B0138C33C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EC7E5D2-2D05-7340-86DE-6DA811BD7B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111A6A-A5E3-A549-8207-7D2731A5AAE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63C0C04-5FF5-B84B-9BB5-605970C29BFF}" type="datetimeFigureOut">
              <a:rPr lang="de-DE" smtClean="0"/>
              <a:t>13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2B19A1B-91BC-C14B-8A87-64A200DB14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080DE5-7D83-9843-A6B9-A60EC1DDDD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FF1BF6A-77C2-1B4F-BE67-733D6CA3A2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5512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C17F7A-AFA1-1643-BCC4-AC8C76F80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99650A4-9C45-A74C-9E2D-9D23B0917D5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DE1BB17-816D-A743-BB06-B55FB92DC9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B3F7AD7-56A7-3D4D-8DD2-70A20F9126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63C0C04-5FF5-B84B-9BB5-605970C29BFF}" type="datetimeFigureOut">
              <a:rPr lang="de-DE" smtClean="0"/>
              <a:t>13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EE8D558-C096-4044-BBBC-8E5A011126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1FA7158-2288-304B-BF82-A76FB423A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FF1BF6A-77C2-1B4F-BE67-733D6CA3A2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07523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280678-A5DC-7344-92A8-5B54E3B18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3A6423F4-0222-A242-8542-8A35823BC9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8F727F5-848A-564C-9909-BE99ED4AFD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63C0C04-5FF5-B84B-9BB5-605970C29BFF}" type="datetimeFigureOut">
              <a:rPr lang="de-DE" smtClean="0"/>
              <a:t>13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47B4C1-DF91-164F-B3DE-74E17AC3A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A77B93-0F5D-9149-80F5-4F8359C42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FF1BF6A-77C2-1B4F-BE67-733D6CA3A2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32652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177167DA-4753-B541-93E6-E5253D0DFB5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  <a:prstGeom prst="rect">
            <a:avLst/>
          </a:prstGeo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81B1E20-395E-264A-B0AB-756CC45AA4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37D3791-951D-9B47-AF90-C42CA6BC818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63C0C04-5FF5-B84B-9BB5-605970C29BFF}" type="datetimeFigureOut">
              <a:rPr lang="de-DE" smtClean="0"/>
              <a:t>13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282F2C-A42C-834F-B3E1-C7CD68CBB9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175A39-5FD2-AB44-9F78-33A23F7B07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FF1BF6A-77C2-1B4F-BE67-733D6CA3A2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43944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190587" y="4773414"/>
            <a:ext cx="2497617" cy="24209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70887" y="4770438"/>
            <a:ext cx="520701" cy="266307"/>
          </a:xfrm>
          <a:prstGeom prst="rect">
            <a:avLst/>
          </a:prstGeom>
        </p:spPr>
        <p:txBody>
          <a:bodyPr/>
          <a:lstStyle>
            <a:lvl1pPr algn="r">
              <a:defRPr sz="10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B834FEB-5CE9-478E-B36F-D9E76D4A3ADD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r>
              <a:rPr lang="de-DE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Textplatzhalter 10"/>
          <p:cNvSpPr>
            <a:spLocks noGrp="1"/>
          </p:cNvSpPr>
          <p:nvPr>
            <p:ph type="body" idx="12"/>
          </p:nvPr>
        </p:nvSpPr>
        <p:spPr>
          <a:xfrm>
            <a:off x="3153103" y="1333500"/>
            <a:ext cx="5400347" cy="31825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itel 4"/>
          <p:cNvSpPr>
            <a:spLocks noGrp="1"/>
          </p:cNvSpPr>
          <p:nvPr>
            <p:ph type="title"/>
          </p:nvPr>
        </p:nvSpPr>
        <p:spPr>
          <a:xfrm>
            <a:off x="3168869" y="269875"/>
            <a:ext cx="4295555" cy="952500"/>
          </a:xfrm>
          <a:prstGeom prst="rect">
            <a:avLst/>
          </a:prstGeo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48" t="5066" b="5066"/>
          <a:stretch/>
        </p:blipFill>
        <p:spPr>
          <a:xfrm>
            <a:off x="0" y="0"/>
            <a:ext cx="3024917" cy="5153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2586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5B91224-6009-8B42-96BF-5786FDCEF7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2" t="16850" r="351" b="41762"/>
          <a:stretch/>
        </p:blipFill>
        <p:spPr>
          <a:xfrm>
            <a:off x="0" y="-20538"/>
            <a:ext cx="10980712" cy="5956126"/>
          </a:xfrm>
          <a:prstGeom prst="rect">
            <a:avLst/>
          </a:prstGeom>
        </p:spPr>
      </p:pic>
      <p:sp>
        <p:nvSpPr>
          <p:cNvPr id="3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61950" y="4446402"/>
            <a:ext cx="6032369" cy="324036"/>
          </a:xfrm>
          <a:prstGeom prst="rect">
            <a:avLst/>
          </a:prstGeom>
        </p:spPr>
        <p:txBody>
          <a:bodyPr anchor="ctr" anchorCtr="0"/>
          <a:lstStyle>
            <a:lvl1pPr>
              <a:buFontTx/>
              <a:buNone/>
              <a:defRPr sz="1600" b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Subheadline 2 Beispieltext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71475" y="3803874"/>
            <a:ext cx="5583061" cy="520476"/>
          </a:xfrm>
          <a:prstGeom prst="rect">
            <a:avLst/>
          </a:prstGeom>
        </p:spPr>
        <p:txBody>
          <a:bodyPr/>
          <a:lstStyle>
            <a:lvl1pPr algn="l">
              <a:defRPr sz="34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Headline 1 Beispieltext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EF2140-B1AD-A84A-87C6-215079B3EF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4067" y="378923"/>
            <a:ext cx="1230420" cy="9339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1243902-114B-9245-912A-DD8471A5381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4067" y="4283522"/>
            <a:ext cx="1019265" cy="520476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285A5EA-CD5E-E44A-970C-0D0B59D0379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3968" y="1851670"/>
            <a:ext cx="864096" cy="987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487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68473" y="4773414"/>
            <a:ext cx="2497617" cy="24209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70887" y="4770438"/>
            <a:ext cx="520701" cy="266307"/>
          </a:xfrm>
          <a:prstGeom prst="rect">
            <a:avLst/>
          </a:prstGeom>
        </p:spPr>
        <p:txBody>
          <a:bodyPr/>
          <a:lstStyle>
            <a:lvl1pPr algn="r">
              <a:defRPr sz="10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B834FEB-5CE9-478E-B36F-D9E76D4A3ADD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r>
              <a:rPr lang="de-DE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Textplatzhalter 10"/>
          <p:cNvSpPr>
            <a:spLocks noGrp="1"/>
          </p:cNvSpPr>
          <p:nvPr>
            <p:ph type="body" idx="12"/>
          </p:nvPr>
        </p:nvSpPr>
        <p:spPr>
          <a:xfrm>
            <a:off x="371475" y="1333500"/>
            <a:ext cx="8181975" cy="31825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itel 4"/>
          <p:cNvSpPr>
            <a:spLocks noGrp="1"/>
          </p:cNvSpPr>
          <p:nvPr>
            <p:ph type="title"/>
          </p:nvPr>
        </p:nvSpPr>
        <p:spPr>
          <a:xfrm>
            <a:off x="371475" y="269875"/>
            <a:ext cx="7092949" cy="952500"/>
          </a:xfrm>
          <a:prstGeom prst="rect">
            <a:avLst/>
          </a:prstGeo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647764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1475" y="1343024"/>
            <a:ext cx="4054476" cy="3333751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333500"/>
            <a:ext cx="4039121" cy="3344469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itel 4"/>
          <p:cNvSpPr>
            <a:spLocks noGrp="1"/>
          </p:cNvSpPr>
          <p:nvPr>
            <p:ph type="title"/>
          </p:nvPr>
        </p:nvSpPr>
        <p:spPr>
          <a:xfrm>
            <a:off x="371475" y="269875"/>
            <a:ext cx="7092950" cy="952500"/>
          </a:xfrm>
          <a:prstGeom prst="rect">
            <a:avLst/>
          </a:prstGeom>
        </p:spPr>
        <p:txBody>
          <a:bodyPr anchor="b"/>
          <a:lstStyle/>
          <a:p>
            <a:r>
              <a:rPr lang="de-DE" dirty="0"/>
              <a:t>Titelmasterformat durch Klicken bearbeiten</a:t>
            </a:r>
            <a:endParaRPr lang="de-AT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68473" y="4773414"/>
            <a:ext cx="2497617" cy="24209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70887" y="4770438"/>
            <a:ext cx="520701" cy="266307"/>
          </a:xfrm>
          <a:prstGeom prst="rect">
            <a:avLst/>
          </a:prstGeom>
        </p:spPr>
        <p:txBody>
          <a:bodyPr/>
          <a:lstStyle>
            <a:lvl1pPr algn="r">
              <a:defRPr sz="10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B834FEB-5CE9-478E-B36F-D9E76D4A3ADD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r>
              <a:rPr lang="de-DE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110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71475" y="269875"/>
            <a:ext cx="7092950" cy="952500"/>
          </a:xfrm>
          <a:prstGeom prst="rect">
            <a:avLst/>
          </a:prstGeo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68473" y="4773414"/>
            <a:ext cx="2497617" cy="24209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70887" y="4770438"/>
            <a:ext cx="520701" cy="266307"/>
          </a:xfrm>
          <a:prstGeom prst="rect">
            <a:avLst/>
          </a:prstGeom>
        </p:spPr>
        <p:txBody>
          <a:bodyPr/>
          <a:lstStyle>
            <a:lvl1pPr algn="r">
              <a:defRPr sz="10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B834FEB-5CE9-478E-B36F-D9E76D4A3ADD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r>
              <a:rPr lang="de-DE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0955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70887" y="4770438"/>
            <a:ext cx="520701" cy="266307"/>
          </a:xfrm>
          <a:prstGeom prst="rect">
            <a:avLst/>
          </a:prstGeom>
        </p:spPr>
        <p:txBody>
          <a:bodyPr/>
          <a:lstStyle>
            <a:lvl1pPr algn="r">
              <a:defRPr sz="10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B834FEB-5CE9-478E-B36F-D9E76D4A3ADD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r>
              <a:rPr lang="de-DE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6E56C65-C21C-764E-BA75-96879CE65B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2256" y="339502"/>
            <a:ext cx="1219777" cy="925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147314"/>
      </p:ext>
    </p:extLst>
  </p:cSld>
  <p:clrMapOvr>
    <a:masterClrMapping/>
  </p:clrMapOvr>
  <p:hf sldNum="0"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7650" y="291352"/>
            <a:ext cx="1019175" cy="72095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3673" y="2221738"/>
            <a:ext cx="4442865" cy="254684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48" t="5066" b="5066"/>
          <a:stretch/>
        </p:blipFill>
        <p:spPr>
          <a:xfrm>
            <a:off x="0" y="0"/>
            <a:ext cx="3024917" cy="5153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530285"/>
      </p:ext>
    </p:extLst>
  </p:cSld>
  <p:clrMapOvr>
    <a:masterClrMapping/>
  </p:clrMapOvr>
  <p:hf sldNum="0"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>
            <a:extLst>
              <a:ext uri="{FF2B5EF4-FFF2-40B4-BE49-F238E27FC236}">
                <a16:creationId xmlns:a16="http://schemas.microsoft.com/office/drawing/2014/main" id="{A222188F-9B54-AD43-873C-B800456589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024917" cy="515303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1C1067B6-9BC3-E349-A5DB-335CCDDA79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540994"/>
            <a:ext cx="2670051" cy="4005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552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936322-0339-9C40-8D66-EAE4471E87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7796220-95DD-6145-8BC2-A5303C577C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DD6A79F-A5B6-B443-B1DE-FDCAA02412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63C0C04-5FF5-B84B-9BB5-605970C29BFF}" type="datetimeFigureOut">
              <a:rPr lang="de-DE" smtClean="0"/>
              <a:t>13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118180-7619-7649-8ADF-984386ABD9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8E4D372-33F0-2B40-A814-19CE2C7BC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EFF1BF6A-77C2-1B4F-BE67-733D6CA3A2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70018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D6F0866B-BF36-8E4E-9DDC-CD3F15A3229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00" y="267494"/>
            <a:ext cx="792088" cy="601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511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82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0" indent="0" algn="l" rtl="0" eaLnBrk="1" fontAlgn="base" hangingPunct="1">
        <a:lnSpc>
          <a:spcPct val="115000"/>
        </a:lnSpc>
        <a:spcBef>
          <a:spcPct val="25000"/>
        </a:spcBef>
        <a:spcAft>
          <a:spcPct val="0"/>
        </a:spcAft>
        <a:buClr>
          <a:srgbClr val="D10019"/>
        </a:buClr>
        <a:buSzPct val="150000"/>
        <a:buFont typeface="Wingdings" charset="0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352425" indent="-350838" algn="l" rtl="0" eaLnBrk="1" fontAlgn="base" hangingPunct="1">
        <a:lnSpc>
          <a:spcPct val="115000"/>
        </a:lnSpc>
        <a:spcBef>
          <a:spcPct val="25000"/>
        </a:spcBef>
        <a:spcAft>
          <a:spcPct val="0"/>
        </a:spcAft>
        <a:buClr>
          <a:schemeClr val="accent1"/>
        </a:buClr>
        <a:buSzPct val="70000"/>
        <a:buFont typeface="Wingdings" charset="0"/>
        <a:buChar char="n"/>
        <a:defRPr>
          <a:solidFill>
            <a:schemeClr val="tx1"/>
          </a:solidFill>
          <a:latin typeface="+mn-lt"/>
          <a:ea typeface="+mn-ea"/>
        </a:defRPr>
      </a:lvl2pPr>
      <a:lvl3pPr marL="714375" indent="-360363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70000"/>
        <a:buFont typeface="Wingdings" charset="0"/>
        <a:buChar char="n"/>
        <a:defRPr>
          <a:solidFill>
            <a:schemeClr val="tx1"/>
          </a:solidFill>
          <a:latin typeface="+mn-lt"/>
          <a:ea typeface="+mn-ea"/>
        </a:defRPr>
      </a:lvl3pPr>
      <a:lvl4pPr marL="1076325" indent="-360363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55000"/>
        <a:buFont typeface="Wingdings" charset="0"/>
        <a:buChar char="¨"/>
        <a:defRPr>
          <a:solidFill>
            <a:schemeClr val="tx1"/>
          </a:solidFill>
          <a:latin typeface="+mn-lt"/>
          <a:ea typeface="+mn-ea"/>
        </a:defRPr>
      </a:lvl4pPr>
      <a:lvl5pPr marL="1419225" indent="-341313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1876425" indent="-341313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2333625" indent="-341313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2790825" indent="-341313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3248025" indent="-341313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C905C5C-172A-8446-9190-C2576C267E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01321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0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2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0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8.jpeg"/><Relationship Id="rId5" Type="http://schemas.openxmlformats.org/officeDocument/2006/relationships/image" Target="../media/image29.jpeg"/><Relationship Id="rId10" Type="http://schemas.openxmlformats.org/officeDocument/2006/relationships/image" Target="../media/image34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2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slideLayout" Target="../slideLayouts/slideLayout3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oleObject" Target="../embeddings/oleObject2.bin"/><Relationship Id="rId1" Type="http://schemas.openxmlformats.org/officeDocument/2006/relationships/vmlDrawing" Target="../drawings/vmlDrawing1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image" Target="../media/image37.emf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image" Target="../media/image35.emf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oleObject" Target="../embeddings/oleObject3.bin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6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26" Type="http://schemas.openxmlformats.org/officeDocument/2006/relationships/slideLayout" Target="../slideLayouts/slideLayout3.xml"/><Relationship Id="rId3" Type="http://schemas.openxmlformats.org/officeDocument/2006/relationships/tags" Target="../tags/tag33.xml"/><Relationship Id="rId21" Type="http://schemas.openxmlformats.org/officeDocument/2006/relationships/tags" Target="../tags/tag51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tags" Target="../tags/tag55.xml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29" Type="http://schemas.openxmlformats.org/officeDocument/2006/relationships/oleObject" Target="../embeddings/oleObject5.bin"/><Relationship Id="rId1" Type="http://schemas.openxmlformats.org/officeDocument/2006/relationships/vmlDrawing" Target="../drawings/vmlDrawing2.v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tags" Target="../tags/tag54.xml"/><Relationship Id="rId32" Type="http://schemas.openxmlformats.org/officeDocument/2006/relationships/image" Target="../media/image39.emf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tags" Target="../tags/tag53.xml"/><Relationship Id="rId28" Type="http://schemas.openxmlformats.org/officeDocument/2006/relationships/image" Target="../media/image35.emf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31" Type="http://schemas.openxmlformats.org/officeDocument/2006/relationships/oleObject" Target="../embeddings/oleObject6.bin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tags" Target="../tags/tag52.xml"/><Relationship Id="rId27" Type="http://schemas.openxmlformats.org/officeDocument/2006/relationships/oleObject" Target="../embeddings/oleObject4.bin"/><Relationship Id="rId30" Type="http://schemas.openxmlformats.org/officeDocument/2006/relationships/image" Target="../media/image38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9.jpeg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E37103C7-1A70-4109-845E-CB06389AF4B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F076109-B4EC-44BF-A69D-CCF5F5810B6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Next 250.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998023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Vienna Stock Exchange at a </a:t>
            </a:r>
            <a:r>
              <a:rPr lang="de-AT" dirty="0" err="1"/>
              <a:t>glanc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B834FEB-5CE9-478E-B36F-D9E76D4A3ADD}" type="slidenum">
              <a:rPr lang="de-DE" smtClean="0"/>
              <a:pPr>
                <a:defRPr/>
              </a:pPr>
              <a:t>10</a:t>
            </a:fld>
            <a:r>
              <a:rPr lang="de-DE" dirty="0"/>
              <a:t> </a:t>
            </a: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371475" y="4767724"/>
            <a:ext cx="47053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>
              <a:spcBef>
                <a:spcPct val="50000"/>
              </a:spcBef>
            </a:pPr>
            <a:r>
              <a:rPr lang="de-AT" sz="800" dirty="0" err="1"/>
              <a:t>Regulated</a:t>
            </a:r>
            <a:r>
              <a:rPr lang="de-AT" sz="800" dirty="0"/>
              <a:t> Markets and Vienna MTF - Source: Wiener Börse AG, </a:t>
            </a:r>
            <a:r>
              <a:rPr lang="de-AT" sz="800" dirty="0" err="1"/>
              <a:t>December</a:t>
            </a:r>
            <a:r>
              <a:rPr lang="de-AT" sz="800" dirty="0"/>
              <a:t> 2020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-196208" y="1504121"/>
            <a:ext cx="9235333" cy="2896436"/>
            <a:chOff x="-196208" y="1504121"/>
            <a:chExt cx="9235333" cy="2896436"/>
          </a:xfrm>
        </p:grpSpPr>
        <p:grpSp>
          <p:nvGrpSpPr>
            <p:cNvPr id="4" name="Gruppieren 3"/>
            <p:cNvGrpSpPr/>
            <p:nvPr/>
          </p:nvGrpSpPr>
          <p:grpSpPr>
            <a:xfrm>
              <a:off x="-196208" y="2845922"/>
              <a:ext cx="9235333" cy="1554635"/>
              <a:chOff x="-345070" y="2845922"/>
              <a:chExt cx="9235333" cy="1554635"/>
            </a:xfrm>
          </p:grpSpPr>
          <p:sp>
            <p:nvSpPr>
              <p:cNvPr id="17" name="Textfeld 16"/>
              <p:cNvSpPr txBox="1"/>
              <p:nvPr/>
            </p:nvSpPr>
            <p:spPr>
              <a:xfrm>
                <a:off x="-345070" y="3938891"/>
                <a:ext cx="323362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b="1" dirty="0">
                    <a:latin typeface="+mj-lt"/>
                  </a:rPr>
                  <a:t>Market </a:t>
                </a:r>
              </a:p>
              <a:p>
                <a:pPr algn="ctr"/>
                <a:r>
                  <a:rPr lang="de-DE" sz="1200" b="1" dirty="0" err="1">
                    <a:latin typeface="+mj-lt"/>
                  </a:rPr>
                  <a:t>Capitalization</a:t>
                </a:r>
                <a:endParaRPr lang="de-DE" sz="1200" dirty="0">
                  <a:latin typeface="+mj-lt"/>
                </a:endParaRPr>
              </a:p>
            </p:txBody>
          </p:sp>
          <p:grpSp>
            <p:nvGrpSpPr>
              <p:cNvPr id="37" name="Gruppieren 36"/>
              <p:cNvGrpSpPr/>
              <p:nvPr/>
            </p:nvGrpSpPr>
            <p:grpSpPr>
              <a:xfrm>
                <a:off x="4835752" y="2845922"/>
                <a:ext cx="2363468" cy="1554635"/>
                <a:chOff x="5104193" y="2836548"/>
                <a:chExt cx="2491278" cy="1638704"/>
              </a:xfrm>
            </p:grpSpPr>
            <p:sp>
              <p:nvSpPr>
                <p:cNvPr id="18" name="Textfeld 17"/>
                <p:cNvSpPr txBox="1"/>
                <p:nvPr/>
              </p:nvSpPr>
              <p:spPr>
                <a:xfrm>
                  <a:off x="5104193" y="3988622"/>
                  <a:ext cx="2491278" cy="4866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00" b="1" dirty="0">
                      <a:latin typeface="+mj-lt"/>
                    </a:rPr>
                    <a:t>Trading System Services</a:t>
                  </a:r>
                </a:p>
                <a:p>
                  <a:pPr algn="ctr"/>
                  <a:r>
                    <a:rPr lang="de-DE" sz="1200" dirty="0" err="1">
                      <a:latin typeface="+mj-lt"/>
                    </a:rPr>
                    <a:t>for</a:t>
                  </a:r>
                  <a:r>
                    <a:rPr lang="de-DE" sz="1200" dirty="0">
                      <a:latin typeface="+mj-lt"/>
                    </a:rPr>
                    <a:t> 5 </a:t>
                  </a:r>
                  <a:r>
                    <a:rPr lang="de-DE" sz="1200" dirty="0" err="1">
                      <a:latin typeface="+mj-lt"/>
                    </a:rPr>
                    <a:t>markets</a:t>
                  </a:r>
                  <a:endParaRPr lang="de-DE" sz="1200" dirty="0">
                    <a:latin typeface="+mj-lt"/>
                  </a:endParaRPr>
                </a:p>
              </p:txBody>
            </p:sp>
            <p:grpSp>
              <p:nvGrpSpPr>
                <p:cNvPr id="24" name="Gruppieren 23"/>
                <p:cNvGrpSpPr/>
                <p:nvPr/>
              </p:nvGrpSpPr>
              <p:grpSpPr>
                <a:xfrm>
                  <a:off x="5652379" y="2836548"/>
                  <a:ext cx="1394905" cy="1045063"/>
                  <a:chOff x="2416518" y="1677262"/>
                  <a:chExt cx="1936565" cy="1385663"/>
                </a:xfrm>
              </p:grpSpPr>
              <p:pic>
                <p:nvPicPr>
                  <p:cNvPr id="28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416518" y="1677262"/>
                    <a:ext cx="1936565" cy="138566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29" name="Rechteck 28"/>
                  <p:cNvSpPr/>
                  <p:nvPr/>
                </p:nvSpPr>
                <p:spPr>
                  <a:xfrm>
                    <a:off x="2742426" y="2139834"/>
                    <a:ext cx="1133029" cy="73126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de-DE" sz="2800" b="1" dirty="0">
                        <a:solidFill>
                          <a:srgbClr val="D10019"/>
                        </a:solidFill>
                      </a:rPr>
                      <a:t>5</a:t>
                    </a:r>
                  </a:p>
                </p:txBody>
              </p:sp>
            </p:grpSp>
          </p:grpSp>
          <p:grpSp>
            <p:nvGrpSpPr>
              <p:cNvPr id="35" name="Gruppieren 34"/>
              <p:cNvGrpSpPr/>
              <p:nvPr/>
            </p:nvGrpSpPr>
            <p:grpSpPr>
              <a:xfrm>
                <a:off x="1715879" y="2884668"/>
                <a:ext cx="2363468" cy="1515887"/>
                <a:chOff x="1768106" y="2877390"/>
                <a:chExt cx="2491278" cy="1597861"/>
              </a:xfrm>
            </p:grpSpPr>
            <p:sp>
              <p:nvSpPr>
                <p:cNvPr id="19" name="Textfeld 18"/>
                <p:cNvSpPr txBox="1"/>
                <p:nvPr/>
              </p:nvSpPr>
              <p:spPr>
                <a:xfrm>
                  <a:off x="1768106" y="3988621"/>
                  <a:ext cx="2491278" cy="4866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00" b="1" dirty="0">
                      <a:latin typeface="+mj-lt"/>
                    </a:rPr>
                    <a:t>86 Trading Members</a:t>
                  </a:r>
                </a:p>
                <a:p>
                  <a:pPr algn="ctr"/>
                  <a:r>
                    <a:rPr lang="de-DE" sz="1200" dirty="0">
                      <a:latin typeface="+mj-lt"/>
                    </a:rPr>
                    <a:t>60 international</a:t>
                  </a:r>
                </a:p>
              </p:txBody>
            </p:sp>
            <p:pic>
              <p:nvPicPr>
                <p:cNvPr id="25" name="Picture 4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318353" y="2877390"/>
                  <a:ext cx="1390783" cy="99113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36" name="Gruppieren 35"/>
              <p:cNvGrpSpPr/>
              <p:nvPr/>
            </p:nvGrpSpPr>
            <p:grpSpPr>
              <a:xfrm>
                <a:off x="3280556" y="2856746"/>
                <a:ext cx="2363468" cy="1543808"/>
                <a:chOff x="3524271" y="2847959"/>
                <a:chExt cx="2491278" cy="1627292"/>
              </a:xfrm>
            </p:grpSpPr>
            <p:sp>
              <p:nvSpPr>
                <p:cNvPr id="20" name="Textfeld 19"/>
                <p:cNvSpPr txBox="1"/>
                <p:nvPr/>
              </p:nvSpPr>
              <p:spPr>
                <a:xfrm>
                  <a:off x="3524271" y="3988621"/>
                  <a:ext cx="2491278" cy="4866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00" b="1" dirty="0">
                      <a:latin typeface="+mj-lt"/>
                    </a:rPr>
                    <a:t>140+ Indices</a:t>
                  </a:r>
                </a:p>
                <a:p>
                  <a:pPr algn="ctr"/>
                  <a:r>
                    <a:rPr lang="de-DE" sz="1200" dirty="0" err="1">
                      <a:latin typeface="+mj-lt"/>
                    </a:rPr>
                    <a:t>for</a:t>
                  </a:r>
                  <a:r>
                    <a:rPr lang="de-DE" sz="1200" dirty="0">
                      <a:latin typeface="+mj-lt"/>
                    </a:rPr>
                    <a:t> 14 </a:t>
                  </a:r>
                  <a:r>
                    <a:rPr lang="de-DE" sz="1200" dirty="0" err="1">
                      <a:latin typeface="+mj-lt"/>
                    </a:rPr>
                    <a:t>markets</a:t>
                  </a:r>
                  <a:endParaRPr lang="de-DE" sz="1200" dirty="0">
                    <a:latin typeface="+mj-lt"/>
                  </a:endParaRPr>
                </a:p>
              </p:txBody>
            </p:sp>
            <p:pic>
              <p:nvPicPr>
                <p:cNvPr id="26" name="Picture 6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213075" y="2847959"/>
                  <a:ext cx="1072572" cy="102224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33" name="Gruppieren 32"/>
              <p:cNvGrpSpPr/>
              <p:nvPr/>
            </p:nvGrpSpPr>
            <p:grpSpPr>
              <a:xfrm>
                <a:off x="6526795" y="2979323"/>
                <a:ext cx="2363468" cy="1421231"/>
                <a:chOff x="6708557" y="2977165"/>
                <a:chExt cx="2491278" cy="1498086"/>
              </a:xfrm>
            </p:grpSpPr>
            <p:pic>
              <p:nvPicPr>
                <p:cNvPr id="27" name="Picture 5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442070" y="2977165"/>
                  <a:ext cx="956746" cy="90444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2" name="Textfeld 21"/>
                <p:cNvSpPr txBox="1"/>
                <p:nvPr/>
              </p:nvSpPr>
              <p:spPr>
                <a:xfrm>
                  <a:off x="6708557" y="3988621"/>
                  <a:ext cx="2491278" cy="4866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00" b="1" dirty="0">
                      <a:latin typeface="+mj-lt"/>
                    </a:rPr>
                    <a:t>Market Data Hub</a:t>
                  </a:r>
                </a:p>
                <a:p>
                  <a:pPr algn="ctr"/>
                  <a:r>
                    <a:rPr lang="de-DE" sz="1200" dirty="0" err="1">
                      <a:latin typeface="+mj-lt"/>
                    </a:rPr>
                    <a:t>for</a:t>
                  </a:r>
                  <a:r>
                    <a:rPr lang="de-DE" sz="1200">
                      <a:latin typeface="+mj-lt"/>
                    </a:rPr>
                    <a:t> 11 </a:t>
                  </a:r>
                  <a:r>
                    <a:rPr lang="de-DE" sz="1200" dirty="0" err="1">
                      <a:latin typeface="+mj-lt"/>
                    </a:rPr>
                    <a:t>markets</a:t>
                  </a:r>
                  <a:endParaRPr lang="de-DE" sz="1200" dirty="0">
                    <a:latin typeface="+mj-lt"/>
                  </a:endParaRPr>
                </a:p>
              </p:txBody>
            </p:sp>
          </p:grpSp>
        </p:grpSp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9455" y="1504121"/>
              <a:ext cx="918158" cy="104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9" name="Gruppieren 38"/>
            <p:cNvGrpSpPr/>
            <p:nvPr/>
          </p:nvGrpSpPr>
          <p:grpSpPr>
            <a:xfrm>
              <a:off x="1847612" y="1645314"/>
              <a:ext cx="6519625" cy="750539"/>
              <a:chOff x="1473853" y="1630393"/>
              <a:chExt cx="6872189" cy="791126"/>
            </a:xfrm>
          </p:grpSpPr>
          <p:sp>
            <p:nvSpPr>
              <p:cNvPr id="9" name="Textfeld 8"/>
              <p:cNvSpPr txBox="1"/>
              <p:nvPr/>
            </p:nvSpPr>
            <p:spPr>
              <a:xfrm>
                <a:off x="1473853" y="1630393"/>
                <a:ext cx="1199407" cy="6812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>
                    <a:latin typeface="+mj-lt"/>
                  </a:rPr>
                  <a:t>814</a:t>
                </a:r>
              </a:p>
              <a:p>
                <a:pPr algn="ctr"/>
                <a:r>
                  <a:rPr lang="de-DE" sz="1800" dirty="0">
                    <a:latin typeface="+mj-lt"/>
                  </a:rPr>
                  <a:t>Shares</a:t>
                </a:r>
              </a:p>
            </p:txBody>
          </p:sp>
          <p:sp>
            <p:nvSpPr>
              <p:cNvPr id="10" name="Textfeld 9"/>
              <p:cNvSpPr txBox="1"/>
              <p:nvPr/>
            </p:nvSpPr>
            <p:spPr>
              <a:xfrm>
                <a:off x="2401538" y="1642910"/>
                <a:ext cx="1626919" cy="6812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>
                    <a:latin typeface="+mj-lt"/>
                  </a:rPr>
                  <a:t>5,781</a:t>
                </a:r>
                <a:endParaRPr lang="de-DE" sz="1800" b="1" dirty="0">
                  <a:latin typeface="+mj-lt"/>
                </a:endParaRPr>
              </a:p>
              <a:p>
                <a:pPr algn="ctr"/>
                <a:r>
                  <a:rPr lang="de-DE" sz="1800" dirty="0">
                    <a:latin typeface="+mj-lt"/>
                  </a:rPr>
                  <a:t>Bonds</a:t>
                </a:r>
              </a:p>
            </p:txBody>
          </p:sp>
          <p:sp>
            <p:nvSpPr>
              <p:cNvPr id="11" name="Textfeld 10"/>
              <p:cNvSpPr txBox="1"/>
              <p:nvPr/>
            </p:nvSpPr>
            <p:spPr>
              <a:xfrm>
                <a:off x="3557709" y="1642910"/>
                <a:ext cx="2572863" cy="6812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>
                    <a:latin typeface="+mj-lt"/>
                  </a:rPr>
                  <a:t>1,168</a:t>
                </a:r>
              </a:p>
              <a:p>
                <a:pPr algn="ctr"/>
                <a:r>
                  <a:rPr lang="de-DE" sz="1800" dirty="0">
                    <a:latin typeface="+mj-lt"/>
                  </a:rPr>
                  <a:t>Warrants</a:t>
                </a:r>
              </a:p>
            </p:txBody>
          </p:sp>
          <p:sp>
            <p:nvSpPr>
              <p:cNvPr id="12" name="Textfeld 11"/>
              <p:cNvSpPr txBox="1"/>
              <p:nvPr/>
            </p:nvSpPr>
            <p:spPr>
              <a:xfrm>
                <a:off x="5508020" y="1642910"/>
                <a:ext cx="2080161" cy="6812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>
                    <a:latin typeface="+mj-lt"/>
                  </a:rPr>
                  <a:t>6,703</a:t>
                </a:r>
                <a:endParaRPr lang="de-DE" sz="1800" b="1" dirty="0">
                  <a:latin typeface="+mj-lt"/>
                </a:endParaRPr>
              </a:p>
              <a:p>
                <a:pPr algn="ctr"/>
                <a:r>
                  <a:rPr lang="de-DE" sz="1800" dirty="0" err="1">
                    <a:latin typeface="+mj-lt"/>
                  </a:rPr>
                  <a:t>Certificates</a:t>
                </a:r>
                <a:endParaRPr lang="de-DE" sz="1800" dirty="0">
                  <a:latin typeface="+mj-lt"/>
                </a:endParaRPr>
              </a:p>
            </p:txBody>
          </p:sp>
          <p:sp>
            <p:nvSpPr>
              <p:cNvPr id="13" name="Textfeld 12"/>
              <p:cNvSpPr txBox="1"/>
              <p:nvPr/>
            </p:nvSpPr>
            <p:spPr>
              <a:xfrm>
                <a:off x="7146635" y="1642910"/>
                <a:ext cx="1199407" cy="7786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>
                    <a:latin typeface="+mj-lt"/>
                  </a:rPr>
                  <a:t>114</a:t>
                </a:r>
                <a:endParaRPr lang="de-DE" sz="1800" b="1" dirty="0">
                  <a:latin typeface="+mj-lt"/>
                </a:endParaRPr>
              </a:p>
              <a:p>
                <a:pPr algn="ctr"/>
                <a:r>
                  <a:rPr lang="de-DE" sz="1800" dirty="0">
                    <a:latin typeface="+mj-lt"/>
                  </a:rPr>
                  <a:t>ETFs</a:t>
                </a:r>
              </a:p>
            </p:txBody>
          </p:sp>
        </p:grpSp>
      </p:grpSp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400" y="2742737"/>
            <a:ext cx="1408898" cy="128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Rechteck 41"/>
          <p:cNvSpPr/>
          <p:nvPr/>
        </p:nvSpPr>
        <p:spPr>
          <a:xfrm>
            <a:off x="1084697" y="3163605"/>
            <a:ext cx="733293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108.18</a:t>
            </a:r>
          </a:p>
          <a:p>
            <a:pPr algn="ctr"/>
            <a:r>
              <a:rPr lang="de-DE" sz="900" dirty="0">
                <a:solidFill>
                  <a:schemeClr val="bg1"/>
                </a:solidFill>
              </a:rPr>
              <a:t>EUR </a:t>
            </a:r>
            <a:r>
              <a:rPr lang="de-DE" sz="900" dirty="0" err="1">
                <a:solidFill>
                  <a:schemeClr val="bg1"/>
                </a:solidFill>
              </a:rPr>
              <a:t>bn</a:t>
            </a:r>
            <a:endParaRPr lang="de-DE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3117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Die Wiener Börse AG</a:t>
            </a:r>
            <a:br>
              <a:rPr lang="de-AT" dirty="0"/>
            </a:br>
            <a:r>
              <a:rPr lang="de-AT" dirty="0"/>
              <a:t>Hohe Diversifizierung und starkes Netzwerk 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F08391E-2215-4001-B6B1-ED998EBD8E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B834FEB-5CE9-478E-B36F-D9E76D4A3ADD}" type="slidenum">
              <a:rPr lang="de-AT" smtClean="0"/>
              <a:pPr>
                <a:defRPr/>
              </a:pPr>
              <a:t>11</a:t>
            </a:fld>
            <a:r>
              <a:rPr lang="de-AT"/>
              <a:t> </a:t>
            </a:r>
            <a:endParaRPr lang="de-AT" dirty="0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93121A03-DD75-4C07-A1DE-91ABE3BA04C5}"/>
              </a:ext>
            </a:extLst>
          </p:cNvPr>
          <p:cNvGrpSpPr/>
          <p:nvPr/>
        </p:nvGrpSpPr>
        <p:grpSpPr>
          <a:xfrm>
            <a:off x="453317" y="2379377"/>
            <a:ext cx="3525083" cy="489600"/>
            <a:chOff x="453317" y="2379377"/>
            <a:chExt cx="3525083" cy="489600"/>
          </a:xfrm>
        </p:grpSpPr>
        <p:pic>
          <p:nvPicPr>
            <p:cNvPr id="232" name="Grafik 231">
              <a:extLst>
                <a:ext uri="{FF2B5EF4-FFF2-40B4-BE49-F238E27FC236}">
                  <a16:creationId xmlns:a16="http://schemas.microsoft.com/office/drawing/2014/main" id="{1A606BC2-21C9-4B5F-9E06-2355B8D41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3317" y="2379377"/>
              <a:ext cx="734400" cy="489600"/>
            </a:xfrm>
            <a:prstGeom prst="rect">
              <a:avLst/>
            </a:prstGeom>
          </p:spPr>
        </p:pic>
        <p:sp>
          <p:nvSpPr>
            <p:cNvPr id="234" name="Textfeld 233">
              <a:extLst>
                <a:ext uri="{FF2B5EF4-FFF2-40B4-BE49-F238E27FC236}">
                  <a16:creationId xmlns:a16="http://schemas.microsoft.com/office/drawing/2014/main" id="{953994A7-E6B3-4B02-88E0-4C7FB2515BE5}"/>
                </a:ext>
              </a:extLst>
            </p:cNvPr>
            <p:cNvSpPr txBox="1"/>
            <p:nvPr/>
          </p:nvSpPr>
          <p:spPr>
            <a:xfrm>
              <a:off x="1314104" y="2379377"/>
              <a:ext cx="2664296" cy="4880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 anchor="ctr" anchorCtr="0">
              <a:noAutofit/>
            </a:bodyPr>
            <a:lstStyle>
              <a:defPPr>
                <a:defRPr lang="de-DE"/>
              </a:defPPr>
              <a:lvl1pPr>
                <a:defRPr sz="1200"/>
              </a:lvl1pPr>
            </a:lstStyle>
            <a:p>
              <a:r>
                <a:rPr lang="de-AT" dirty="0"/>
                <a:t>IT-Betrieb für 5 Börsen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61B1D702-4D99-4DC9-A793-60BC35475D80}"/>
              </a:ext>
            </a:extLst>
          </p:cNvPr>
          <p:cNvGrpSpPr/>
          <p:nvPr/>
        </p:nvGrpSpPr>
        <p:grpSpPr>
          <a:xfrm>
            <a:off x="453317" y="1770429"/>
            <a:ext cx="3525083" cy="489600"/>
            <a:chOff x="453317" y="1770429"/>
            <a:chExt cx="3525083" cy="489600"/>
          </a:xfrm>
        </p:grpSpPr>
        <p:pic>
          <p:nvPicPr>
            <p:cNvPr id="231" name="Grafik 230">
              <a:extLst>
                <a:ext uri="{FF2B5EF4-FFF2-40B4-BE49-F238E27FC236}">
                  <a16:creationId xmlns:a16="http://schemas.microsoft.com/office/drawing/2014/main" id="{D2DC0F3F-A03B-48AD-A049-A3EDE69381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3317" y="1770429"/>
              <a:ext cx="733667" cy="489600"/>
            </a:xfrm>
            <a:prstGeom prst="rect">
              <a:avLst/>
            </a:prstGeom>
          </p:spPr>
        </p:pic>
        <p:sp>
          <p:nvSpPr>
            <p:cNvPr id="235" name="Textfeld 234">
              <a:extLst>
                <a:ext uri="{FF2B5EF4-FFF2-40B4-BE49-F238E27FC236}">
                  <a16:creationId xmlns:a16="http://schemas.microsoft.com/office/drawing/2014/main" id="{C67269CA-55B5-4102-BE83-AE6B16F724AC}"/>
                </a:ext>
              </a:extLst>
            </p:cNvPr>
            <p:cNvSpPr txBox="1"/>
            <p:nvPr/>
          </p:nvSpPr>
          <p:spPr>
            <a:xfrm>
              <a:off x="1314103" y="1770429"/>
              <a:ext cx="2664297" cy="4880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 anchor="ctr" anchorCtr="0">
              <a:noAutofit/>
            </a:bodyPr>
            <a:lstStyle/>
            <a:p>
              <a:r>
                <a:rPr lang="de-AT" sz="1200" dirty="0"/>
                <a:t>Aktienhandel &amp; </a:t>
              </a:r>
              <a:r>
                <a:rPr lang="de-AT" sz="1200" dirty="0" err="1"/>
                <a:t>Börsenotierung</a:t>
              </a:r>
              <a:endParaRPr lang="de-AT" sz="1200" dirty="0"/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03E9E7AB-C211-4AAD-9D32-3E005ABDE7FB}"/>
              </a:ext>
            </a:extLst>
          </p:cNvPr>
          <p:cNvGrpSpPr/>
          <p:nvPr/>
        </p:nvGrpSpPr>
        <p:grpSpPr>
          <a:xfrm>
            <a:off x="453317" y="2988324"/>
            <a:ext cx="3525083" cy="489600"/>
            <a:chOff x="453317" y="2988324"/>
            <a:chExt cx="3525083" cy="489600"/>
          </a:xfrm>
        </p:grpSpPr>
        <p:pic>
          <p:nvPicPr>
            <p:cNvPr id="233" name="Grafik 232">
              <a:extLst>
                <a:ext uri="{FF2B5EF4-FFF2-40B4-BE49-F238E27FC236}">
                  <a16:creationId xmlns:a16="http://schemas.microsoft.com/office/drawing/2014/main" id="{88E03354-F7C9-4024-88C3-2E84E47F7A8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3317" y="2988324"/>
              <a:ext cx="733661" cy="489600"/>
            </a:xfrm>
            <a:prstGeom prst="rect">
              <a:avLst/>
            </a:prstGeom>
          </p:spPr>
        </p:pic>
        <p:sp>
          <p:nvSpPr>
            <p:cNvPr id="237" name="Textfeld 236">
              <a:extLst>
                <a:ext uri="{FF2B5EF4-FFF2-40B4-BE49-F238E27FC236}">
                  <a16:creationId xmlns:a16="http://schemas.microsoft.com/office/drawing/2014/main" id="{2D1F974B-564E-4D5A-90BB-97E509B65668}"/>
                </a:ext>
              </a:extLst>
            </p:cNvPr>
            <p:cNvSpPr txBox="1"/>
            <p:nvPr/>
          </p:nvSpPr>
          <p:spPr>
            <a:xfrm>
              <a:off x="1314103" y="2988324"/>
              <a:ext cx="2664297" cy="4880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 anchor="ctr" anchorCtr="0">
              <a:noAutofit/>
            </a:bodyPr>
            <a:lstStyle>
              <a:defPPr>
                <a:defRPr lang="de-DE"/>
              </a:defPPr>
              <a:lvl1pPr>
                <a:defRPr sz="1200"/>
              </a:lvl1pPr>
            </a:lstStyle>
            <a:p>
              <a:r>
                <a:rPr lang="de-AT" dirty="0"/>
                <a:t>Marktdaten &amp; Indizes für 11 Märkte</a:t>
              </a: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07B0C1FC-6BA0-441A-AA74-29987C8CF7D9}"/>
              </a:ext>
            </a:extLst>
          </p:cNvPr>
          <p:cNvGrpSpPr/>
          <p:nvPr/>
        </p:nvGrpSpPr>
        <p:grpSpPr>
          <a:xfrm>
            <a:off x="453317" y="4206221"/>
            <a:ext cx="3525084" cy="488018"/>
            <a:chOff x="453317" y="4206221"/>
            <a:chExt cx="3525084" cy="488018"/>
          </a:xfrm>
        </p:grpSpPr>
        <p:sp>
          <p:nvSpPr>
            <p:cNvPr id="239" name="Textfeld 238">
              <a:extLst>
                <a:ext uri="{FF2B5EF4-FFF2-40B4-BE49-F238E27FC236}">
                  <a16:creationId xmlns:a16="http://schemas.microsoft.com/office/drawing/2014/main" id="{C23CEA4A-ADC6-47F8-A2BB-8554B2F21116}"/>
                </a:ext>
              </a:extLst>
            </p:cNvPr>
            <p:cNvSpPr txBox="1"/>
            <p:nvPr/>
          </p:nvSpPr>
          <p:spPr>
            <a:xfrm>
              <a:off x="1314104" y="4206221"/>
              <a:ext cx="2664297" cy="4880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 anchor="ctr" anchorCtr="0">
              <a:noAutofit/>
            </a:bodyPr>
            <a:lstStyle>
              <a:defPPr>
                <a:defRPr lang="de-DE"/>
              </a:defPPr>
              <a:lvl1pPr>
                <a:defRPr sz="1200"/>
              </a:lvl1pPr>
            </a:lstStyle>
            <a:p>
              <a:r>
                <a:rPr lang="de-AT" dirty="0"/>
                <a:t>Beteiligungen an Aktien-, Gas- </a:t>
              </a:r>
              <a:br>
                <a:rPr lang="de-AT" dirty="0"/>
              </a:br>
              <a:r>
                <a:rPr lang="de-AT" dirty="0"/>
                <a:t>und Strombörsen </a:t>
              </a:r>
            </a:p>
          </p:txBody>
        </p:sp>
        <p:pic>
          <p:nvPicPr>
            <p:cNvPr id="249" name="Grafik 248">
              <a:extLst>
                <a:ext uri="{FF2B5EF4-FFF2-40B4-BE49-F238E27FC236}">
                  <a16:creationId xmlns:a16="http://schemas.microsoft.com/office/drawing/2014/main" id="{0C9F58F4-619C-47FB-9ACB-1C4EE6F0D1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971"/>
            <a:stretch/>
          </p:blipFill>
          <p:spPr>
            <a:xfrm>
              <a:off x="453317" y="4206221"/>
              <a:ext cx="734400" cy="488018"/>
            </a:xfrm>
            <a:prstGeom prst="rect">
              <a:avLst/>
            </a:prstGeom>
          </p:spPr>
        </p:pic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4B739159-E8D7-495B-B25C-5E4693B842CC}"/>
              </a:ext>
            </a:extLst>
          </p:cNvPr>
          <p:cNvGrpSpPr/>
          <p:nvPr/>
        </p:nvGrpSpPr>
        <p:grpSpPr>
          <a:xfrm>
            <a:off x="453317" y="3597272"/>
            <a:ext cx="3525083" cy="488018"/>
            <a:chOff x="453317" y="3597272"/>
            <a:chExt cx="3525083" cy="488018"/>
          </a:xfrm>
        </p:grpSpPr>
        <p:sp>
          <p:nvSpPr>
            <p:cNvPr id="236" name="Textfeld 235">
              <a:extLst>
                <a:ext uri="{FF2B5EF4-FFF2-40B4-BE49-F238E27FC236}">
                  <a16:creationId xmlns:a16="http://schemas.microsoft.com/office/drawing/2014/main" id="{3F1E0DBB-6000-462F-83D3-8631743F236D}"/>
                </a:ext>
              </a:extLst>
            </p:cNvPr>
            <p:cNvSpPr txBox="1"/>
            <p:nvPr/>
          </p:nvSpPr>
          <p:spPr>
            <a:xfrm>
              <a:off x="1314103" y="3597272"/>
              <a:ext cx="2664297" cy="4880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 anchor="ctr" anchorCtr="0">
              <a:noAutofit/>
            </a:bodyPr>
            <a:lstStyle>
              <a:defPPr>
                <a:defRPr lang="de-DE"/>
              </a:defPPr>
              <a:lvl1pPr>
                <a:defRPr sz="1200"/>
              </a:lvl1pPr>
            </a:lstStyle>
            <a:p>
              <a:r>
                <a:rPr lang="de-AT" dirty="0"/>
                <a:t>Verwahrung von Wertpapieren </a:t>
              </a:r>
            </a:p>
            <a:p>
              <a:r>
                <a:rPr lang="de-AT" dirty="0"/>
                <a:t>(CSD Prag)</a:t>
              </a:r>
            </a:p>
          </p:txBody>
        </p:sp>
        <p:pic>
          <p:nvPicPr>
            <p:cNvPr id="250" name="Grafik 249">
              <a:extLst>
                <a:ext uri="{FF2B5EF4-FFF2-40B4-BE49-F238E27FC236}">
                  <a16:creationId xmlns:a16="http://schemas.microsoft.com/office/drawing/2014/main" id="{7D727C7F-A588-4638-BC21-97DEA8489C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634"/>
            <a:stretch/>
          </p:blipFill>
          <p:spPr>
            <a:xfrm>
              <a:off x="453317" y="3597272"/>
              <a:ext cx="733660" cy="488018"/>
            </a:xfrm>
            <a:prstGeom prst="rect">
              <a:avLst/>
            </a:prstGeom>
          </p:spPr>
        </p:pic>
      </p:grpSp>
      <p:pic>
        <p:nvPicPr>
          <p:cNvPr id="6" name="Grafik 5" descr="Ein Bild, das Karte enthält.&#10;&#10;Automatisch generierte Beschreibung">
            <a:extLst>
              <a:ext uri="{FF2B5EF4-FFF2-40B4-BE49-F238E27FC236}">
                <a16:creationId xmlns:a16="http://schemas.microsoft.com/office/drawing/2014/main" id="{09D24B7A-71FD-41E6-9FFE-5D2AA75E9CC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8194" y="1757790"/>
            <a:ext cx="4468755" cy="2926334"/>
          </a:xfrm>
          <a:prstGeom prst="rect">
            <a:avLst/>
          </a:prstGeom>
        </p:spPr>
      </p:pic>
      <p:sp>
        <p:nvSpPr>
          <p:cNvPr id="22" name="Rectangle 5">
            <a:extLst>
              <a:ext uri="{FF2B5EF4-FFF2-40B4-BE49-F238E27FC236}">
                <a16:creationId xmlns:a16="http://schemas.microsoft.com/office/drawing/2014/main" id="{4B85B0A6-E0DA-421A-872E-4D060672EE6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53317" y="1360222"/>
            <a:ext cx="3528392" cy="271869"/>
          </a:xfrm>
          <a:prstGeom prst="rect">
            <a:avLst/>
          </a:prstGeom>
          <a:solidFill>
            <a:srgbClr val="15515A"/>
          </a:solidFill>
          <a:ln w="9525" algn="ctr">
            <a:noFill/>
            <a:miter lim="800000"/>
            <a:headEnd/>
            <a:tailEnd/>
          </a:ln>
        </p:spPr>
        <p:txBody>
          <a:bodyPr wrap="square" lIns="90000" rIns="90000" anchor="ctr">
            <a:spAutoFit/>
          </a:bodyPr>
          <a:lstStyle/>
          <a:p>
            <a:pPr>
              <a:lnSpc>
                <a:spcPts val="1400"/>
              </a:lnSpc>
            </a:pPr>
            <a:r>
              <a:rPr lang="de-AT" altLang="de-DE" sz="1200" b="1" dirty="0">
                <a:solidFill>
                  <a:schemeClr val="bg1"/>
                </a:solidFill>
                <a:latin typeface="+mj-lt"/>
                <a:ea typeface="ＭＳ Ｐゴシック"/>
                <a:cs typeface="ＭＳ Ｐゴシック"/>
              </a:rPr>
              <a:t>Tätigkeitsbereiche</a:t>
            </a:r>
          </a:p>
        </p:txBody>
      </p:sp>
      <p:sp>
        <p:nvSpPr>
          <p:cNvPr id="23" name="Rectangle 5">
            <a:extLst>
              <a:ext uri="{FF2B5EF4-FFF2-40B4-BE49-F238E27FC236}">
                <a16:creationId xmlns:a16="http://schemas.microsoft.com/office/drawing/2014/main" id="{E106139E-F049-43B5-9447-EE2C3E82F201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188878" y="1363777"/>
            <a:ext cx="4442359" cy="271869"/>
          </a:xfrm>
          <a:prstGeom prst="rect">
            <a:avLst/>
          </a:prstGeom>
          <a:solidFill>
            <a:srgbClr val="15515A"/>
          </a:solidFill>
          <a:ln w="9525" algn="ctr">
            <a:noFill/>
            <a:miter lim="800000"/>
            <a:headEnd/>
            <a:tailEnd/>
          </a:ln>
        </p:spPr>
        <p:txBody>
          <a:bodyPr wrap="square" lIns="90000" rIns="90000" anchor="ctr">
            <a:spAutoFit/>
          </a:bodyPr>
          <a:lstStyle/>
          <a:p>
            <a:pPr>
              <a:lnSpc>
                <a:spcPts val="1400"/>
              </a:lnSpc>
            </a:pPr>
            <a:r>
              <a:rPr lang="de-AT" altLang="de-DE" sz="1200" b="1" dirty="0">
                <a:solidFill>
                  <a:schemeClr val="bg1"/>
                </a:solidFill>
                <a:latin typeface="+mj-lt"/>
                <a:ea typeface="ＭＳ Ｐゴシック"/>
                <a:cs typeface="ＭＳ Ｐゴシック"/>
              </a:rPr>
              <a:t>Globales Netzwerk</a:t>
            </a:r>
          </a:p>
        </p:txBody>
      </p:sp>
    </p:spTree>
    <p:extLst>
      <p:ext uri="{BB962C8B-B14F-4D97-AF65-F5344CB8AC3E}">
        <p14:creationId xmlns:p14="http://schemas.microsoft.com/office/powerpoint/2010/main" val="22349858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ompany Wiener Börse AG has diversified revenue streams and a strong network</a:t>
            </a:r>
            <a:endParaRPr lang="de-AT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F08391E-2215-4001-B6B1-ED998EBD8E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B834FEB-5CE9-478E-B36F-D9E76D4A3ADD}" type="slidenum">
              <a:rPr lang="de-DE" smtClean="0"/>
              <a:pPr>
                <a:defRPr/>
              </a:pPr>
              <a:t>12</a:t>
            </a:fld>
            <a:r>
              <a:rPr lang="de-DE"/>
              <a:t> </a:t>
            </a:r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29A51FA-E33A-4ABC-A454-6C9EB708C905}"/>
              </a:ext>
            </a:extLst>
          </p:cNvPr>
          <p:cNvGrpSpPr/>
          <p:nvPr/>
        </p:nvGrpSpPr>
        <p:grpSpPr>
          <a:xfrm>
            <a:off x="454090" y="1813616"/>
            <a:ext cx="3517162" cy="2918374"/>
            <a:chOff x="454090" y="1918150"/>
            <a:chExt cx="3364692" cy="2770025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D82C7DFD-50B2-164A-ADF6-ACA33B04C85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978" y="1918150"/>
              <a:ext cx="647353" cy="431703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FF0FECAC-5FCF-BA44-AB67-B7749653BB4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331" y="2508749"/>
              <a:ext cx="648000" cy="432000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1BB073A2-DC49-3044-BA6F-B67A10E51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983" y="3099646"/>
              <a:ext cx="647348" cy="432000"/>
            </a:xfrm>
            <a:prstGeom prst="rect">
              <a:avLst/>
            </a:prstGeom>
          </p:spPr>
        </p:pic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DD7E7F5C-97E1-9043-8794-373C820DE390}"/>
                </a:ext>
              </a:extLst>
            </p:cNvPr>
            <p:cNvSpPr txBox="1"/>
            <p:nvPr/>
          </p:nvSpPr>
          <p:spPr>
            <a:xfrm>
              <a:off x="1154485" y="2498318"/>
              <a:ext cx="2664296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200"/>
              </a:lvl1pPr>
            </a:lstStyle>
            <a:p>
              <a:r>
                <a:rPr lang="en-US" dirty="0"/>
                <a:t>IT services for 5 stock exchanges and local trading participants</a:t>
              </a:r>
              <a:endParaRPr lang="de-AT" dirty="0"/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F7A4B319-B1C4-104F-A560-56BFEF32EF23}"/>
                </a:ext>
              </a:extLst>
            </p:cNvPr>
            <p:cNvSpPr txBox="1"/>
            <p:nvPr/>
          </p:nvSpPr>
          <p:spPr>
            <a:xfrm>
              <a:off x="1154485" y="1922254"/>
              <a:ext cx="266429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Stock trading and listing</a:t>
              </a:r>
            </a:p>
            <a:p>
              <a:pPr algn="ctr"/>
              <a:endParaRPr lang="de-AT" sz="1200" dirty="0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E2C451AA-2C1B-9846-9BF8-6D0FC50E6593}"/>
                </a:ext>
              </a:extLst>
            </p:cNvPr>
            <p:cNvSpPr txBox="1"/>
            <p:nvPr/>
          </p:nvSpPr>
          <p:spPr>
            <a:xfrm>
              <a:off x="1154485" y="3650446"/>
              <a:ext cx="266429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200"/>
              </a:lvl1pPr>
            </a:lstStyle>
            <a:p>
              <a:r>
                <a:rPr lang="de-AT" dirty="0"/>
                <a:t>Central </a:t>
              </a:r>
              <a:r>
                <a:rPr lang="de-AT" dirty="0" err="1"/>
                <a:t>securities</a:t>
              </a:r>
              <a:r>
                <a:rPr lang="de-AT" dirty="0"/>
                <a:t> </a:t>
              </a:r>
              <a:r>
                <a:rPr lang="de-AT" dirty="0" err="1"/>
                <a:t>depository</a:t>
              </a:r>
              <a:r>
                <a:rPr lang="de-AT" dirty="0"/>
                <a:t> (CSD </a:t>
              </a:r>
              <a:r>
                <a:rPr lang="de-AT" dirty="0" err="1"/>
                <a:t>Prague</a:t>
              </a:r>
              <a:r>
                <a:rPr lang="de-AT" dirty="0"/>
                <a:t>)</a:t>
              </a: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9CA24F7B-5FBD-B849-9039-2C496C24E170}"/>
                </a:ext>
              </a:extLst>
            </p:cNvPr>
            <p:cNvSpPr txBox="1"/>
            <p:nvPr/>
          </p:nvSpPr>
          <p:spPr>
            <a:xfrm>
              <a:off x="1154485" y="3074382"/>
              <a:ext cx="266429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200"/>
              </a:lvl1pPr>
            </a:lstStyle>
            <a:p>
              <a:r>
                <a:rPr lang="de-AT" dirty="0"/>
                <a:t>Market </a:t>
              </a:r>
              <a:r>
                <a:rPr lang="de-AT" dirty="0" err="1"/>
                <a:t>data</a:t>
              </a:r>
              <a:r>
                <a:rPr lang="de-AT" dirty="0"/>
                <a:t> </a:t>
              </a:r>
              <a:r>
                <a:rPr lang="de-AT" dirty="0" err="1"/>
                <a:t>and</a:t>
              </a:r>
              <a:r>
                <a:rPr lang="de-AT" dirty="0"/>
                <a:t> </a:t>
              </a:r>
              <a:r>
                <a:rPr lang="de-AT" dirty="0" err="1"/>
                <a:t>indices</a:t>
              </a:r>
              <a:r>
                <a:rPr lang="de-AT" dirty="0"/>
                <a:t> </a:t>
              </a:r>
              <a:r>
                <a:rPr lang="de-AT" dirty="0" err="1"/>
                <a:t>for</a:t>
              </a:r>
              <a:r>
                <a:rPr lang="de-AT" dirty="0"/>
                <a:t> </a:t>
              </a:r>
              <a:r>
                <a:rPr lang="de-AT" dirty="0" err="1"/>
                <a:t>over</a:t>
              </a:r>
              <a:r>
                <a:rPr lang="de-AT" dirty="0"/>
                <a:t> a </a:t>
              </a:r>
              <a:r>
                <a:rPr lang="de-AT" dirty="0" err="1"/>
                <a:t>dozen</a:t>
              </a:r>
              <a:r>
                <a:rPr lang="de-AT" dirty="0"/>
                <a:t> </a:t>
              </a:r>
              <a:r>
                <a:rPr lang="de-AT" dirty="0" err="1"/>
                <a:t>markets</a:t>
              </a:r>
              <a:endParaRPr lang="de-AT" dirty="0"/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6472F15B-A9F8-D648-91B8-C29F91EC64D5}"/>
                </a:ext>
              </a:extLst>
            </p:cNvPr>
            <p:cNvSpPr txBox="1"/>
            <p:nvPr/>
          </p:nvSpPr>
          <p:spPr>
            <a:xfrm>
              <a:off x="1154485" y="4226510"/>
              <a:ext cx="266429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200"/>
              </a:lvl1pPr>
            </a:lstStyle>
            <a:p>
              <a:r>
                <a:rPr lang="en-US" dirty="0"/>
                <a:t>Stakes in other stock, gas and electricity exchanges</a:t>
              </a:r>
              <a:endParaRPr lang="de-AT" dirty="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4B285292-4B41-6845-96BE-93AA0C221AC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090" y="4226282"/>
              <a:ext cx="647348" cy="457492"/>
            </a:xfrm>
            <a:prstGeom prst="rect">
              <a:avLst/>
            </a:prstGeom>
          </p:spPr>
        </p:pic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09EA4C93-4003-3849-934E-33252B50C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331" y="3635385"/>
              <a:ext cx="648002" cy="461665"/>
            </a:xfrm>
            <a:prstGeom prst="rect">
              <a:avLst/>
            </a:prstGeom>
          </p:spPr>
        </p:pic>
      </p:grpSp>
      <p:pic>
        <p:nvPicPr>
          <p:cNvPr id="5" name="Grafik 4" descr="Ein Bild, das Karte enthält.&#10;&#10;Automatisch generierte Beschreibung">
            <a:extLst>
              <a:ext uri="{FF2B5EF4-FFF2-40B4-BE49-F238E27FC236}">
                <a16:creationId xmlns:a16="http://schemas.microsoft.com/office/drawing/2014/main" id="{0B51A9B5-F699-4B1F-AC43-580DD9AB4CB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8096" y="1805656"/>
            <a:ext cx="4493141" cy="2926334"/>
          </a:xfrm>
          <a:prstGeom prst="rect">
            <a:avLst/>
          </a:prstGeom>
        </p:spPr>
      </p:pic>
      <p:sp>
        <p:nvSpPr>
          <p:cNvPr id="19" name="Rectangle 5">
            <a:extLst>
              <a:ext uri="{FF2B5EF4-FFF2-40B4-BE49-F238E27FC236}">
                <a16:creationId xmlns:a16="http://schemas.microsoft.com/office/drawing/2014/main" id="{6A381CC8-9B42-464A-BBE4-C4FD4180087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54090" y="1337737"/>
            <a:ext cx="3528392" cy="271869"/>
          </a:xfrm>
          <a:prstGeom prst="rect">
            <a:avLst/>
          </a:prstGeom>
          <a:solidFill>
            <a:srgbClr val="15515A"/>
          </a:solidFill>
          <a:ln w="9525" algn="ctr">
            <a:noFill/>
            <a:miter lim="800000"/>
            <a:headEnd/>
            <a:tailEnd/>
          </a:ln>
        </p:spPr>
        <p:txBody>
          <a:bodyPr wrap="square" lIns="90000" rIns="90000" anchor="ctr">
            <a:spAutoFit/>
          </a:bodyPr>
          <a:lstStyle/>
          <a:p>
            <a:pPr>
              <a:lnSpc>
                <a:spcPts val="1400"/>
              </a:lnSpc>
            </a:pPr>
            <a:r>
              <a:rPr lang="de-DE" altLang="de-DE" sz="1200" b="1" dirty="0" err="1">
                <a:solidFill>
                  <a:schemeClr val="bg1"/>
                </a:solidFill>
              </a:rPr>
              <a:t>Our</a:t>
            </a:r>
            <a:r>
              <a:rPr lang="de-DE" altLang="de-DE" sz="1200" b="1" dirty="0">
                <a:solidFill>
                  <a:schemeClr val="bg1"/>
                </a:solidFill>
              </a:rPr>
              <a:t> </a:t>
            </a:r>
            <a:r>
              <a:rPr lang="de-DE" altLang="de-DE" sz="1200" b="1" dirty="0" err="1">
                <a:solidFill>
                  <a:schemeClr val="bg1"/>
                </a:solidFill>
              </a:rPr>
              <a:t>revenue</a:t>
            </a:r>
            <a:r>
              <a:rPr lang="de-DE" altLang="de-DE" sz="1200" b="1" dirty="0">
                <a:solidFill>
                  <a:schemeClr val="bg1"/>
                </a:solidFill>
              </a:rPr>
              <a:t> </a:t>
            </a:r>
            <a:r>
              <a:rPr lang="de-DE" altLang="de-DE" sz="1200" b="1" dirty="0" err="1">
                <a:solidFill>
                  <a:schemeClr val="bg1"/>
                </a:solidFill>
              </a:rPr>
              <a:t>streams</a:t>
            </a:r>
            <a:endParaRPr lang="de-DE" altLang="de-DE" sz="1200" b="1" dirty="0">
              <a:solidFill>
                <a:schemeClr val="bg1"/>
              </a:solidFill>
            </a:endParaRPr>
          </a:p>
        </p:txBody>
      </p:sp>
      <p:sp>
        <p:nvSpPr>
          <p:cNvPr id="26" name="Rectangle 5">
            <a:extLst>
              <a:ext uri="{FF2B5EF4-FFF2-40B4-BE49-F238E27FC236}">
                <a16:creationId xmlns:a16="http://schemas.microsoft.com/office/drawing/2014/main" id="{9C10C32C-EF6E-4D9B-8E4F-C9DE3861E060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174589" y="1347614"/>
            <a:ext cx="4442359" cy="271869"/>
          </a:xfrm>
          <a:prstGeom prst="rect">
            <a:avLst/>
          </a:prstGeom>
          <a:solidFill>
            <a:srgbClr val="15515A"/>
          </a:solidFill>
          <a:ln w="9525" algn="ctr">
            <a:noFill/>
            <a:miter lim="800000"/>
            <a:headEnd/>
            <a:tailEnd/>
          </a:ln>
        </p:spPr>
        <p:txBody>
          <a:bodyPr wrap="square" lIns="90000" rIns="90000" anchor="ctr">
            <a:spAutoFit/>
          </a:bodyPr>
          <a:lstStyle/>
          <a:p>
            <a:pPr>
              <a:lnSpc>
                <a:spcPts val="1400"/>
              </a:lnSpc>
            </a:pPr>
            <a:r>
              <a:rPr lang="de-AT" altLang="de-DE" sz="1200" b="1" dirty="0">
                <a:solidFill>
                  <a:schemeClr val="bg1"/>
                </a:solidFill>
                <a:latin typeface="+mj-lt"/>
                <a:ea typeface="ＭＳ Ｐゴシック"/>
                <a:cs typeface="ＭＳ Ｐゴシック"/>
              </a:rPr>
              <a:t>Global Network</a:t>
            </a:r>
          </a:p>
        </p:txBody>
      </p:sp>
    </p:spTree>
    <p:extLst>
      <p:ext uri="{BB962C8B-B14F-4D97-AF65-F5344CB8AC3E}">
        <p14:creationId xmlns:p14="http://schemas.microsoft.com/office/powerpoint/2010/main" val="3099875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think-cell Folie" r:id="rId27" imgW="383" imgH="384" progId="TCLayout.ActiveDocument.1">
                  <p:embed/>
                </p:oleObj>
              </mc:Choice>
              <mc:Fallback>
                <p:oleObj name="think-cell Folie" r:id="rId27" imgW="383" imgH="38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de-DE" sz="1200" u="none" strike="noStrike" cap="none" normalizeH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EBA34CB-B320-446F-8742-D1ACA8BD46A6}" type="slidenum">
              <a:rPr lang="de-DE" smtClean="0"/>
              <a:pPr>
                <a:defRPr/>
              </a:pPr>
              <a:t>13</a:t>
            </a:fld>
            <a:r>
              <a:rPr lang="de-DE"/>
              <a:t>  </a:t>
            </a:r>
            <a:endParaRPr lang="de-DE" dirty="0"/>
          </a:p>
        </p:txBody>
      </p:sp>
      <p:graphicFrame>
        <p:nvGraphicFramePr>
          <p:cNvPr id="8" name="Objekt 7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752602" y="2783088"/>
          <a:ext cx="4695824" cy="15336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Chart" r:id="rId29" imgW="4857858" imgH="1752587" progId="MSGraph.Chart.8">
                  <p:embed followColorScheme="full"/>
                </p:oleObj>
              </mc:Choice>
              <mc:Fallback>
                <p:oleObj name="Chart" r:id="rId29" imgW="4857858" imgH="1752587" progId="MSGraph.Chart.8">
                  <p:embed followColorScheme="full"/>
                  <p:pic>
                    <p:nvPicPr>
                      <p:cNvPr id="8" name="Objekt 7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752602" y="2783088"/>
                        <a:ext cx="4695824" cy="15336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3568699" y="4205882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de-DE" altLang="en-US" sz="1100" b="0" dirty="0">
                <a:sym typeface="+mn-lt"/>
              </a:rPr>
              <a:t>2017</a:t>
            </a:r>
            <a:endParaRPr lang="de-DE" sz="1100" b="0" dirty="0">
              <a:sym typeface="+mn-lt"/>
            </a:endParaRPr>
          </a:p>
        </p:txBody>
      </p:sp>
      <p:sp>
        <p:nvSpPr>
          <p:cNvPr id="26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144118" y="4205883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de-DE" sz="1100" b="0" dirty="0">
                <a:sym typeface="+mn-lt"/>
              </a:rPr>
              <a:t>2015</a:t>
            </a:r>
          </a:p>
        </p:txBody>
      </p:sp>
      <p:sp>
        <p:nvSpPr>
          <p:cNvPr id="27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863257" y="4205294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de-DE" sz="1100" b="0" dirty="0">
                <a:sym typeface="+mn-lt"/>
              </a:rPr>
              <a:t>2016</a:t>
            </a:r>
          </a:p>
        </p:txBody>
      </p:sp>
      <p:sp>
        <p:nvSpPr>
          <p:cNvPr id="29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4328872" y="4194976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de-DE" altLang="en-US" sz="1200" b="0" dirty="0">
                <a:sym typeface="+mn-lt"/>
              </a:rPr>
              <a:t>2018</a:t>
            </a:r>
            <a:endParaRPr lang="de-DE" sz="1200" b="0" dirty="0">
              <a:sym typeface="+mn-lt"/>
            </a:endParaRPr>
          </a:p>
        </p:txBody>
      </p:sp>
      <p:sp>
        <p:nvSpPr>
          <p:cNvPr id="36" name="Rechteck 35"/>
          <p:cNvSpPr/>
          <p:nvPr>
            <p:custDataLst>
              <p:tags r:id="rId9"/>
            </p:custDataLst>
          </p:nvPr>
        </p:nvSpPr>
        <p:spPr bwMode="auto">
          <a:xfrm>
            <a:off x="2811121" y="4507706"/>
            <a:ext cx="214313" cy="120254"/>
          </a:xfrm>
          <a:prstGeom prst="rect">
            <a:avLst/>
          </a:prstGeom>
          <a:solidFill>
            <a:srgbClr val="F3BBA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5" name="Rechteck 34"/>
          <p:cNvSpPr/>
          <p:nvPr>
            <p:custDataLst>
              <p:tags r:id="rId10"/>
            </p:custDataLst>
          </p:nvPr>
        </p:nvSpPr>
        <p:spPr bwMode="auto">
          <a:xfrm>
            <a:off x="815976" y="4507706"/>
            <a:ext cx="214313" cy="12025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7" name="Rechteck 36"/>
          <p:cNvSpPr/>
          <p:nvPr>
            <p:custDataLst>
              <p:tags r:id="rId11"/>
            </p:custDataLst>
          </p:nvPr>
        </p:nvSpPr>
        <p:spPr bwMode="auto">
          <a:xfrm>
            <a:off x="4682976" y="4507706"/>
            <a:ext cx="214313" cy="12025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3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3076234" y="4504135"/>
            <a:ext cx="1781175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de-DE" altLang="en-US" sz="1000" b="0" dirty="0">
                <a:sym typeface="+mn-lt"/>
              </a:rPr>
              <a:t>Teilnehmende </a:t>
            </a:r>
            <a:fld id="{35763F16-7D27-492E-809D-8D07ED42ECF5}" type="datetime'''''''''''''I''nv''''''es''''''''''''''''tor''''''e''n'">
              <a:rPr lang="de-DE" altLang="en-US" sz="1000" b="0" smtClean="0">
                <a:sym typeface="+mn-lt"/>
              </a:rPr>
              <a:pPr/>
              <a:t>Investoren</a:t>
            </a:fld>
            <a:r>
              <a:rPr lang="de-DE" altLang="en-US" sz="1000" b="0" dirty="0">
                <a:sym typeface="+mn-lt"/>
              </a:rPr>
              <a:t>  </a:t>
            </a:r>
            <a:endParaRPr lang="de-DE" sz="1000" b="0" dirty="0">
              <a:sym typeface="+mn-lt"/>
            </a:endParaRPr>
          </a:p>
        </p:txBody>
      </p:sp>
      <p:sp>
        <p:nvSpPr>
          <p:cNvPr id="34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081089" y="4504135"/>
            <a:ext cx="1990725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de-DE" altLang="en-US" sz="1000" b="0" dirty="0">
                <a:sym typeface="+mn-lt"/>
              </a:rPr>
              <a:t>Teilnehmende </a:t>
            </a:r>
            <a:fld id="{C9A3FE9E-28A7-45EF-9714-A202758594C3}" type="datetime'Un''''''''''''''''te''''''''rn''''''''e''''''''h''''me''''n'''">
              <a:rPr lang="de-DE" altLang="en-US" sz="1000" b="0" smtClean="0">
                <a:sym typeface="+mn-lt"/>
              </a:rPr>
              <a:pPr/>
              <a:t>Unternehmen</a:t>
            </a:fld>
            <a:r>
              <a:rPr lang="de-DE" altLang="en-US" sz="1000" b="0" dirty="0">
                <a:sym typeface="+mn-lt"/>
              </a:rPr>
              <a:t>  </a:t>
            </a:r>
            <a:endParaRPr lang="de-DE" sz="1000" b="0" dirty="0">
              <a:sym typeface="+mn-lt"/>
            </a:endParaRPr>
          </a:p>
        </p:txBody>
      </p:sp>
      <p:sp>
        <p:nvSpPr>
          <p:cNvPr id="32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4991219" y="4504135"/>
            <a:ext cx="1722438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06DE1909-8E44-4D6B-9E53-EE50BB1F3F37}" type="datetime'M''ee''ting''s'' ''(Gr''''''''upp''e''''n/1''o1''''''s'''')'''">
              <a:rPr lang="de-DE" altLang="en-US" sz="1000" b="0">
                <a:sym typeface="+mn-lt"/>
              </a:rPr>
              <a:pPr/>
              <a:t>Meetings (Gruppen/1o1s)</a:t>
            </a:fld>
            <a:endParaRPr lang="de-DE" sz="1000" b="0" dirty="0">
              <a:sym typeface="+mn-lt"/>
            </a:endParaRPr>
          </a:p>
        </p:txBody>
      </p:sp>
      <p:graphicFrame>
        <p:nvGraphicFramePr>
          <p:cNvPr id="46" name="Objekt 45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1833216" y="1222375"/>
          <a:ext cx="4729510" cy="1589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Chart" r:id="rId31" imgW="4867157" imgH="1800225" progId="MSGraph.Chart.8">
                  <p:embed followColorScheme="full"/>
                </p:oleObj>
              </mc:Choice>
              <mc:Fallback>
                <p:oleObj name="Chart" r:id="rId31" imgW="4867157" imgH="1800225" progId="MSGraph.Chart.8">
                  <p:embed followColorScheme="full"/>
                  <p:pic>
                    <p:nvPicPr>
                      <p:cNvPr id="46" name="Objekt 45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833216" y="1222375"/>
                        <a:ext cx="4729510" cy="15892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 3">
            <a:extLst>
              <a:ext uri="{FF2B5EF4-FFF2-40B4-BE49-F238E27FC236}">
                <a16:creationId xmlns:a16="http://schemas.microsoft.com/office/drawing/2014/main" id="{16CB8529-AAE8-452B-A29C-8834B3414356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4383361" y="2666435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en-US" sz="1100" b="0" dirty="0">
                <a:sym typeface="+mn-lt"/>
              </a:rPr>
              <a:t>2018</a:t>
            </a:r>
            <a:endParaRPr lang="en-US" sz="1100" b="0" dirty="0">
              <a:sym typeface="+mn-lt"/>
            </a:endParaRPr>
          </a:p>
        </p:txBody>
      </p:sp>
      <p:sp>
        <p:nvSpPr>
          <p:cNvPr id="30" name="Rectangle 3">
            <a:extLst>
              <a:ext uri="{FF2B5EF4-FFF2-40B4-BE49-F238E27FC236}">
                <a16:creationId xmlns:a16="http://schemas.microsoft.com/office/drawing/2014/main" id="{7848D719-AA84-46FA-82C1-D1D56117A221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2218251" y="2666434"/>
            <a:ext cx="349250" cy="136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en-US" sz="1100" b="0" dirty="0">
                <a:sym typeface="+mn-lt"/>
              </a:rPr>
              <a:t>2015</a:t>
            </a:r>
            <a:endParaRPr lang="en-US" sz="1100" b="0" dirty="0">
              <a:sym typeface="+mn-lt"/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98E3DB3D-D6AF-4400-BF37-A9EF511D797F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3684974" y="2674406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en-US" sz="1100" b="0" dirty="0">
                <a:sym typeface="+mn-lt"/>
              </a:rPr>
              <a:t>2017</a:t>
            </a:r>
            <a:endParaRPr lang="en-US" sz="1100" b="0" dirty="0">
              <a:sym typeface="+mn-lt"/>
            </a:endParaRP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id="{0AAD5411-5A15-4D51-BD0A-ACF4DE79749F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2928225" y="2674406"/>
            <a:ext cx="349250" cy="112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en-US" sz="1100" b="0" dirty="0">
                <a:sym typeface="+mn-lt"/>
              </a:rPr>
              <a:t>2016</a:t>
            </a:r>
            <a:endParaRPr lang="en-US" sz="1100" b="0" dirty="0">
              <a:sym typeface="+mn-lt"/>
            </a:endParaRPr>
          </a:p>
        </p:txBody>
      </p:sp>
      <p:sp>
        <p:nvSpPr>
          <p:cNvPr id="44" name="Richtungspfeil 43"/>
          <p:cNvSpPr/>
          <p:nvPr/>
        </p:nvSpPr>
        <p:spPr bwMode="auto">
          <a:xfrm>
            <a:off x="469057" y="2914650"/>
            <a:ext cx="1224064" cy="1359693"/>
          </a:xfrm>
          <a:prstGeom prst="homePlate">
            <a:avLst>
              <a:gd name="adj" fmla="val 8127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200" b="1" dirty="0">
                <a:ea typeface="Verdana" pitchFamily="34" charset="0"/>
                <a:cs typeface="Verdana" pitchFamily="34" charset="0"/>
              </a:rPr>
              <a:t>Roadshow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AT" sz="1200" b="1" dirty="0">
                <a:ea typeface="Verdana" pitchFamily="34" charset="0"/>
                <a:cs typeface="Verdana" pitchFamily="34" charset="0"/>
              </a:rPr>
              <a:t>Statistik</a:t>
            </a:r>
            <a:endParaRPr lang="de-DE" sz="1200" b="1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51" name="Richtungspfeil 50"/>
          <p:cNvSpPr/>
          <p:nvPr/>
        </p:nvSpPr>
        <p:spPr bwMode="auto">
          <a:xfrm>
            <a:off x="469057" y="1368839"/>
            <a:ext cx="1224064" cy="1345786"/>
          </a:xfrm>
          <a:prstGeom prst="homePlate">
            <a:avLst>
              <a:gd name="adj" fmla="val 8127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200" b="1" dirty="0">
                <a:ea typeface="Verdana" pitchFamily="34" charset="0"/>
                <a:cs typeface="Verdana" pitchFamily="34" charset="0"/>
              </a:rPr>
              <a:t>Roadshows 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200" b="1" dirty="0">
                <a:ea typeface="Verdana" pitchFamily="34" charset="0"/>
                <a:cs typeface="Verdana" pitchFamily="34" charset="0"/>
              </a:rPr>
              <a:t>im Überblick</a:t>
            </a:r>
          </a:p>
        </p:txBody>
      </p:sp>
      <p:sp>
        <p:nvSpPr>
          <p:cNvPr id="48" name="Rectangle 3">
            <a:extLst>
              <a:ext uri="{FF2B5EF4-FFF2-40B4-BE49-F238E27FC236}">
                <a16:creationId xmlns:a16="http://schemas.microsoft.com/office/drawing/2014/main" id="{16CB8529-AAE8-452B-A29C-8834B3414356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5143630" y="2666435"/>
            <a:ext cx="349250" cy="109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en-US" sz="1100" b="0" dirty="0">
                <a:sym typeface="+mn-lt"/>
              </a:rPr>
              <a:t>2019</a:t>
            </a:r>
            <a:endParaRPr lang="en-US" sz="1100" b="0" dirty="0">
              <a:sym typeface="+mn-lt"/>
            </a:endParaRPr>
          </a:p>
        </p:txBody>
      </p:sp>
      <p:sp>
        <p:nvSpPr>
          <p:cNvPr id="49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006383" y="4194976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de-DE" sz="1100" b="0" dirty="0">
                <a:sym typeface="+mn-lt"/>
              </a:rPr>
              <a:t>2019</a:t>
            </a:r>
          </a:p>
        </p:txBody>
      </p:sp>
      <p:graphicFrame>
        <p:nvGraphicFramePr>
          <p:cNvPr id="50" name="Tabelle 49"/>
          <p:cNvGraphicFramePr>
            <a:graphicFrameLocks noGrp="1"/>
          </p:cNvGraphicFramePr>
          <p:nvPr/>
        </p:nvGraphicFramePr>
        <p:xfrm>
          <a:off x="6823194" y="1702290"/>
          <a:ext cx="1945450" cy="12123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5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12360">
                <a:tc>
                  <a:txBody>
                    <a:bodyPr/>
                    <a:lstStyle/>
                    <a:p>
                      <a:pPr marL="0" lvl="1" algn="ctr"/>
                      <a:r>
                        <a:rPr lang="de-AT" sz="1000" dirty="0"/>
                        <a:t>Amsterdam</a:t>
                      </a:r>
                    </a:p>
                    <a:p>
                      <a:pPr marL="0" lvl="1" algn="ctr"/>
                      <a:r>
                        <a:rPr lang="de-AT" sz="1000" dirty="0"/>
                        <a:t>Bukarest</a:t>
                      </a:r>
                    </a:p>
                    <a:p>
                      <a:pPr marL="0" lvl="1" algn="ctr"/>
                      <a:r>
                        <a:rPr lang="de-AT" sz="1000" dirty="0"/>
                        <a:t>Frankfurt</a:t>
                      </a:r>
                    </a:p>
                    <a:p>
                      <a:pPr marL="0" lvl="1" algn="ctr"/>
                      <a:r>
                        <a:rPr lang="de-AT" sz="1000" dirty="0"/>
                        <a:t>London</a:t>
                      </a:r>
                    </a:p>
                    <a:p>
                      <a:pPr marL="0" lvl="1" algn="ctr"/>
                      <a:r>
                        <a:rPr lang="de-AT" sz="1000" dirty="0"/>
                        <a:t>New York</a:t>
                      </a:r>
                    </a:p>
                    <a:p>
                      <a:pPr marL="0" lvl="1" algn="ctr"/>
                      <a:r>
                        <a:rPr lang="de-AT" sz="1000" dirty="0"/>
                        <a:t>Paris</a:t>
                      </a:r>
                    </a:p>
                    <a:p>
                      <a:pPr marL="0" lvl="1" algn="ctr"/>
                      <a:r>
                        <a:rPr lang="de-AT" sz="1000" dirty="0"/>
                        <a:t>Warschau</a:t>
                      </a:r>
                    </a:p>
                  </a:txBody>
                  <a:tcPr marT="34290" marB="34290">
                    <a:lnL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3" name="Rectangle 5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6759747" y="1381304"/>
            <a:ext cx="220195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rIns="90000" anchor="b">
            <a:spAutoFit/>
          </a:bodyPr>
          <a:lstStyle/>
          <a:p>
            <a:pPr algn="ctr"/>
            <a:r>
              <a:rPr lang="en-US" sz="1200" b="1" dirty="0" err="1">
                <a:solidFill>
                  <a:srgbClr val="000000"/>
                </a:solidFill>
                <a:latin typeface="Arial"/>
                <a:ea typeface="ＭＳ Ｐゴシック"/>
              </a:rPr>
              <a:t>Destinationen</a:t>
            </a:r>
            <a:r>
              <a:rPr lang="en-US" sz="1200" b="1" dirty="0">
                <a:solidFill>
                  <a:srgbClr val="000000"/>
                </a:solidFill>
                <a:latin typeface="Arial"/>
                <a:ea typeface="ＭＳ Ｐゴシック"/>
              </a:rPr>
              <a:t> </a:t>
            </a:r>
          </a:p>
        </p:txBody>
      </p:sp>
      <p:cxnSp>
        <p:nvCxnSpPr>
          <p:cNvPr id="54" name="Gerade Verbindung 14"/>
          <p:cNvCxnSpPr/>
          <p:nvPr/>
        </p:nvCxnSpPr>
        <p:spPr bwMode="auto">
          <a:xfrm>
            <a:off x="6823194" y="1655863"/>
            <a:ext cx="19454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aphicFrame>
        <p:nvGraphicFramePr>
          <p:cNvPr id="55" name="Tabelle 54"/>
          <p:cNvGraphicFramePr>
            <a:graphicFrameLocks noGrp="1"/>
          </p:cNvGraphicFramePr>
          <p:nvPr/>
        </p:nvGraphicFramePr>
        <p:xfrm>
          <a:off x="6823188" y="3477471"/>
          <a:ext cx="1945450" cy="9337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5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33796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000" dirty="0"/>
                        <a:t>Baader Bank</a:t>
                      </a:r>
                      <a:br>
                        <a:rPr lang="de-AT" sz="1000" dirty="0"/>
                      </a:br>
                      <a:r>
                        <a:rPr lang="de-AT" sz="1000" dirty="0"/>
                        <a:t>Erste Group</a:t>
                      </a:r>
                      <a:br>
                        <a:rPr lang="de-AT" sz="1000" dirty="0"/>
                      </a:br>
                      <a:r>
                        <a:rPr lang="de-AT" sz="1000" dirty="0"/>
                        <a:t>Hauck &amp; </a:t>
                      </a:r>
                      <a:r>
                        <a:rPr lang="de-AT" sz="1000" dirty="0" err="1"/>
                        <a:t>Aufhäuser</a:t>
                      </a:r>
                      <a:endParaRPr lang="de-AT" sz="1000" dirty="0"/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000" dirty="0"/>
                        <a:t>Kepler </a:t>
                      </a:r>
                      <a:r>
                        <a:rPr lang="de-AT" sz="1000" dirty="0" err="1"/>
                        <a:t>Cheuvreux</a:t>
                      </a:r>
                      <a:endParaRPr lang="de-AT" sz="1000" dirty="0"/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000" dirty="0"/>
                        <a:t>Raiffeisen </a:t>
                      </a:r>
                      <a:r>
                        <a:rPr lang="de-AT" sz="1000" dirty="0" err="1"/>
                        <a:t>Centrobank</a:t>
                      </a:r>
                      <a:endParaRPr lang="de-AT" sz="1000" dirty="0"/>
                    </a:p>
                  </a:txBody>
                  <a:tcPr marT="34290" marB="34290">
                    <a:lnL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6" name="Rectangle 5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6755559" y="3091632"/>
            <a:ext cx="220195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rIns="90000" anchor="b">
            <a:spAutoFit/>
          </a:bodyPr>
          <a:lstStyle/>
          <a:p>
            <a:pPr algn="ctr"/>
            <a:r>
              <a:rPr lang="en-US" sz="1200" b="1">
                <a:solidFill>
                  <a:srgbClr val="000000"/>
                </a:solidFill>
                <a:latin typeface="Arial"/>
                <a:ea typeface="ＭＳ Ｐゴシック"/>
              </a:rPr>
              <a:t>Bank-Partner</a:t>
            </a:r>
            <a:endParaRPr lang="en-US" sz="1200" b="1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cxnSp>
        <p:nvCxnSpPr>
          <p:cNvPr id="57" name="Gerade Verbindung 14"/>
          <p:cNvCxnSpPr/>
          <p:nvPr/>
        </p:nvCxnSpPr>
        <p:spPr bwMode="auto">
          <a:xfrm>
            <a:off x="6823188" y="3403012"/>
            <a:ext cx="19454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0" name="Rectangle 2"/>
          <p:cNvSpPr txBox="1">
            <a:spLocks noChangeArrowheads="1"/>
          </p:cNvSpPr>
          <p:nvPr/>
        </p:nvSpPr>
        <p:spPr>
          <a:xfrm>
            <a:off x="371474" y="269875"/>
            <a:ext cx="7092951" cy="962025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de-AT" dirty="0"/>
              <a:t>Österreichische Unternehmen präsentieren sich in internationalen Finanzzentren</a:t>
            </a:r>
            <a:endParaRPr lang="en-US" sz="1600" b="0" kern="0" dirty="0"/>
          </a:p>
        </p:txBody>
      </p:sp>
      <p:sp>
        <p:nvSpPr>
          <p:cNvPr id="41" name="Text Box 10"/>
          <p:cNvSpPr txBox="1">
            <a:spLocks noChangeArrowheads="1"/>
          </p:cNvSpPr>
          <p:nvPr/>
        </p:nvSpPr>
        <p:spPr bwMode="auto">
          <a:xfrm>
            <a:off x="371474" y="4778856"/>
            <a:ext cx="429739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de-AT" sz="900" dirty="0"/>
              <a:t>Quelle: Wiener Börse AG – Dezember 2020</a:t>
            </a:r>
            <a:endParaRPr lang="en-US" sz="900" dirty="0"/>
          </a:p>
        </p:txBody>
      </p:sp>
      <p:sp>
        <p:nvSpPr>
          <p:cNvPr id="43" name="Rectangle 3">
            <a:extLst>
              <a:ext uri="{FF2B5EF4-FFF2-40B4-BE49-F238E27FC236}">
                <a16:creationId xmlns:a16="http://schemas.microsoft.com/office/drawing/2014/main" id="{16CB8529-AAE8-452B-A29C-8834B3414356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873002" y="2666435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en-US" sz="1100" b="0" dirty="0">
                <a:sym typeface="+mn-lt"/>
              </a:rPr>
              <a:t>2020</a:t>
            </a:r>
            <a:endParaRPr lang="en-US" sz="1100" b="0" dirty="0">
              <a:sym typeface="+mn-lt"/>
            </a:endParaRPr>
          </a:p>
        </p:txBody>
      </p:sp>
      <p:sp>
        <p:nvSpPr>
          <p:cNvPr id="45" name="Rectangle 3">
            <a:extLst>
              <a:ext uri="{FF2B5EF4-FFF2-40B4-BE49-F238E27FC236}">
                <a16:creationId xmlns:a16="http://schemas.microsoft.com/office/drawing/2014/main" id="{16CB8529-AAE8-452B-A29C-8834B3414356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795316" y="4194976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en-US" sz="1100" b="0" dirty="0">
                <a:sym typeface="+mn-lt"/>
              </a:rPr>
              <a:t>2020</a:t>
            </a:r>
            <a:endParaRPr lang="en-US" sz="1100" b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023677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4" name="think-cell Folie" r:id="rId27" imgW="383" imgH="384" progId="TCLayout.ActiveDocument.1">
                  <p:embed/>
                </p:oleObj>
              </mc:Choice>
              <mc:Fallback>
                <p:oleObj name="think-cell Folie" r:id="rId27" imgW="383" imgH="38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de-DE" sz="1200" u="none" strike="noStrike" cap="none" normalizeH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EBA34CB-B320-446F-8742-D1ACA8BD46A6}" type="slidenum">
              <a:rPr lang="de-DE" smtClean="0"/>
              <a:pPr>
                <a:defRPr/>
              </a:pPr>
              <a:t>14</a:t>
            </a:fld>
            <a:r>
              <a:rPr lang="de-DE"/>
              <a:t>  </a:t>
            </a:r>
            <a:endParaRPr lang="de-DE" dirty="0"/>
          </a:p>
        </p:txBody>
      </p:sp>
      <p:graphicFrame>
        <p:nvGraphicFramePr>
          <p:cNvPr id="8" name="Objekt 7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752602" y="2783087"/>
          <a:ext cx="4695824" cy="15336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5" name="Chart" r:id="rId29" imgW="4867157" imgH="1752587" progId="MSGraph.Chart.8">
                  <p:embed followColorScheme="full"/>
                </p:oleObj>
              </mc:Choice>
              <mc:Fallback>
                <p:oleObj name="Chart" r:id="rId29" imgW="4867157" imgH="1752587" progId="MSGraph.Chart.8">
                  <p:embed followColorScheme="full"/>
                  <p:pic>
                    <p:nvPicPr>
                      <p:cNvPr id="8" name="Objekt 7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752602" y="2783087"/>
                        <a:ext cx="4695824" cy="15336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3568699" y="4205883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de-DE" altLang="en-US" sz="1100" b="0" dirty="0">
                <a:sym typeface="+mn-lt"/>
              </a:rPr>
              <a:t>2017</a:t>
            </a:r>
            <a:endParaRPr lang="de-DE" sz="1100" b="0" dirty="0">
              <a:sym typeface="+mn-lt"/>
            </a:endParaRPr>
          </a:p>
        </p:txBody>
      </p:sp>
      <p:sp>
        <p:nvSpPr>
          <p:cNvPr id="26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076451" y="4205883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de-DE" sz="1100" b="0" dirty="0">
                <a:sym typeface="+mn-lt"/>
              </a:rPr>
              <a:t>2015</a:t>
            </a:r>
          </a:p>
        </p:txBody>
      </p:sp>
      <p:sp>
        <p:nvSpPr>
          <p:cNvPr id="27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850809" y="4205883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de-DE" sz="1100" b="0" dirty="0">
                <a:sym typeface="+mn-lt"/>
              </a:rPr>
              <a:t>2016</a:t>
            </a:r>
          </a:p>
        </p:txBody>
      </p:sp>
      <p:sp>
        <p:nvSpPr>
          <p:cNvPr id="29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4319618" y="4205883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de-DE" altLang="en-US" sz="1100" b="0" dirty="0">
                <a:sym typeface="+mn-lt"/>
              </a:rPr>
              <a:t>2018</a:t>
            </a:r>
            <a:endParaRPr lang="de-DE" sz="1100" b="0" dirty="0">
              <a:sym typeface="+mn-lt"/>
            </a:endParaRPr>
          </a:p>
        </p:txBody>
      </p:sp>
      <p:sp>
        <p:nvSpPr>
          <p:cNvPr id="36" name="Rechteck 35"/>
          <p:cNvSpPr/>
          <p:nvPr>
            <p:custDataLst>
              <p:tags r:id="rId9"/>
            </p:custDataLst>
          </p:nvPr>
        </p:nvSpPr>
        <p:spPr bwMode="auto">
          <a:xfrm>
            <a:off x="2811121" y="4507706"/>
            <a:ext cx="214313" cy="120254"/>
          </a:xfrm>
          <a:prstGeom prst="rect">
            <a:avLst/>
          </a:prstGeom>
          <a:solidFill>
            <a:srgbClr val="F3BBA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5" name="Rechteck 34"/>
          <p:cNvSpPr/>
          <p:nvPr>
            <p:custDataLst>
              <p:tags r:id="rId10"/>
            </p:custDataLst>
          </p:nvPr>
        </p:nvSpPr>
        <p:spPr bwMode="auto">
          <a:xfrm>
            <a:off x="815976" y="4507706"/>
            <a:ext cx="214313" cy="12025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7" name="Rechteck 36"/>
          <p:cNvSpPr/>
          <p:nvPr>
            <p:custDataLst>
              <p:tags r:id="rId11"/>
            </p:custDataLst>
          </p:nvPr>
        </p:nvSpPr>
        <p:spPr bwMode="auto">
          <a:xfrm>
            <a:off x="4682976" y="4507706"/>
            <a:ext cx="214313" cy="12025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3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3076234" y="4504135"/>
            <a:ext cx="1781175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de-DE" altLang="en-US" sz="1000" b="0" dirty="0">
                <a:sym typeface="+mn-lt"/>
              </a:rPr>
              <a:t>Investors</a:t>
            </a:r>
            <a:endParaRPr lang="de-DE" sz="1000" b="0" dirty="0">
              <a:sym typeface="+mn-lt"/>
            </a:endParaRPr>
          </a:p>
        </p:txBody>
      </p:sp>
      <p:sp>
        <p:nvSpPr>
          <p:cNvPr id="34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081089" y="4504135"/>
            <a:ext cx="1990725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de-DE" altLang="en-US" sz="1000" b="0" dirty="0">
                <a:sym typeface="+mn-lt"/>
              </a:rPr>
              <a:t>Companies</a:t>
            </a:r>
            <a:endParaRPr lang="de-DE" sz="1000" b="0" dirty="0">
              <a:sym typeface="+mn-lt"/>
            </a:endParaRPr>
          </a:p>
        </p:txBody>
      </p:sp>
      <p:sp>
        <p:nvSpPr>
          <p:cNvPr id="32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4991219" y="4504135"/>
            <a:ext cx="1722438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06DE1909-8E44-4D6B-9E53-EE50BB1F3F37}" type="datetime'M''ee''ting''s'' ''(Gr''''''''upp''e''''n/1''o1''''''s'''')'''">
              <a:rPr lang="de-DE" altLang="en-US" sz="1000" b="0">
                <a:sym typeface="+mn-lt"/>
              </a:rPr>
              <a:pPr/>
              <a:t>Meetings (Gruppen/1o1s)</a:t>
            </a:fld>
            <a:endParaRPr lang="de-DE" sz="1000" b="0" dirty="0">
              <a:sym typeface="+mn-lt"/>
            </a:endParaRPr>
          </a:p>
        </p:txBody>
      </p:sp>
      <p:graphicFrame>
        <p:nvGraphicFramePr>
          <p:cNvPr id="46" name="Objekt 45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1833216" y="1314451"/>
          <a:ext cx="4729510" cy="14972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6" name="Chart" r:id="rId31" imgW="4867157" imgH="1800225" progId="MSGraph.Chart.8">
                  <p:embed followColorScheme="full"/>
                </p:oleObj>
              </mc:Choice>
              <mc:Fallback>
                <p:oleObj name="Chart" r:id="rId31" imgW="4867157" imgH="1800225" progId="MSGraph.Chart.8">
                  <p:embed followColorScheme="full"/>
                  <p:pic>
                    <p:nvPicPr>
                      <p:cNvPr id="46" name="Objekt 45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833216" y="1314451"/>
                        <a:ext cx="4729510" cy="14972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 3">
            <a:extLst>
              <a:ext uri="{FF2B5EF4-FFF2-40B4-BE49-F238E27FC236}">
                <a16:creationId xmlns:a16="http://schemas.microsoft.com/office/drawing/2014/main" id="{16CB8529-AAE8-452B-A29C-8834B3414356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4424166" y="2691419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en-US" sz="1100" b="0" dirty="0">
                <a:sym typeface="+mn-lt"/>
              </a:rPr>
              <a:t>2018</a:t>
            </a:r>
            <a:endParaRPr lang="en-US" sz="1100" b="0" dirty="0">
              <a:sym typeface="+mn-lt"/>
            </a:endParaRPr>
          </a:p>
        </p:txBody>
      </p:sp>
      <p:sp>
        <p:nvSpPr>
          <p:cNvPr id="30" name="Rectangle 3">
            <a:extLst>
              <a:ext uri="{FF2B5EF4-FFF2-40B4-BE49-F238E27FC236}">
                <a16:creationId xmlns:a16="http://schemas.microsoft.com/office/drawing/2014/main" id="{7848D719-AA84-46FA-82C1-D1D56117A221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2222500" y="2692697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en-US" sz="1100" b="0" dirty="0">
                <a:sym typeface="+mn-lt"/>
              </a:rPr>
              <a:t>2015</a:t>
            </a:r>
            <a:endParaRPr lang="en-US" sz="1100" b="0" dirty="0">
              <a:sym typeface="+mn-lt"/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98E3DB3D-D6AF-4400-BF37-A9EF511D797F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3684961" y="2691419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en-US" sz="1100" b="0" dirty="0">
                <a:sym typeface="+mn-lt"/>
              </a:rPr>
              <a:t>2017</a:t>
            </a:r>
            <a:endParaRPr lang="en-US" sz="1100" b="0" dirty="0">
              <a:sym typeface="+mn-lt"/>
            </a:endParaRP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id="{0AAD5411-5A15-4D51-BD0A-ACF4DE79749F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2918277" y="2692697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en-US" sz="1100" b="0" dirty="0">
                <a:sym typeface="+mn-lt"/>
              </a:rPr>
              <a:t>2016</a:t>
            </a:r>
            <a:endParaRPr lang="en-US" sz="1100" b="0" dirty="0">
              <a:sym typeface="+mn-lt"/>
            </a:endParaRPr>
          </a:p>
        </p:txBody>
      </p:sp>
      <p:sp>
        <p:nvSpPr>
          <p:cNvPr id="44" name="Richtungspfeil 43"/>
          <p:cNvSpPr/>
          <p:nvPr/>
        </p:nvSpPr>
        <p:spPr bwMode="auto">
          <a:xfrm>
            <a:off x="469057" y="2914650"/>
            <a:ext cx="1224064" cy="1359693"/>
          </a:xfrm>
          <a:prstGeom prst="homePlate">
            <a:avLst>
              <a:gd name="adj" fmla="val 8127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200" b="1" dirty="0">
                <a:ea typeface="Verdana" pitchFamily="34" charset="0"/>
                <a:cs typeface="Verdana" pitchFamily="34" charset="0"/>
              </a:rPr>
              <a:t>Roadshows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AT" sz="1200" b="1" dirty="0" err="1">
                <a:ea typeface="Verdana" pitchFamily="34" charset="0"/>
                <a:cs typeface="Verdana" pitchFamily="34" charset="0"/>
              </a:rPr>
              <a:t>statistics</a:t>
            </a:r>
            <a:endParaRPr lang="de-DE" sz="1200" b="1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51" name="Richtungspfeil 50"/>
          <p:cNvSpPr/>
          <p:nvPr/>
        </p:nvSpPr>
        <p:spPr bwMode="auto">
          <a:xfrm>
            <a:off x="469057" y="1368839"/>
            <a:ext cx="1224064" cy="1345786"/>
          </a:xfrm>
          <a:prstGeom prst="homePlate">
            <a:avLst>
              <a:gd name="adj" fmla="val 8127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200" b="1" dirty="0">
                <a:ea typeface="Verdana" pitchFamily="34" charset="0"/>
                <a:cs typeface="Verdana" pitchFamily="34" charset="0"/>
              </a:rPr>
              <a:t>Roadshows 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200" b="1" dirty="0">
                <a:ea typeface="Verdana" pitchFamily="34" charset="0"/>
                <a:cs typeface="Verdana" pitchFamily="34" charset="0"/>
              </a:rPr>
              <a:t>at a </a:t>
            </a:r>
            <a:r>
              <a:rPr lang="de-DE" sz="1200" b="1" dirty="0" err="1">
                <a:ea typeface="Verdana" pitchFamily="34" charset="0"/>
                <a:cs typeface="Verdana" pitchFamily="34" charset="0"/>
              </a:rPr>
              <a:t>glance</a:t>
            </a:r>
            <a:endParaRPr lang="de-DE" sz="1200" b="1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48" name="Rectangle 3">
            <a:extLst>
              <a:ext uri="{FF2B5EF4-FFF2-40B4-BE49-F238E27FC236}">
                <a16:creationId xmlns:a16="http://schemas.microsoft.com/office/drawing/2014/main" id="{16CB8529-AAE8-452B-A29C-8834B3414356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5127761" y="2690141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en-US" sz="1100" b="0" dirty="0">
                <a:sym typeface="+mn-lt"/>
              </a:rPr>
              <a:t>2019</a:t>
            </a:r>
            <a:endParaRPr lang="en-US" sz="1100" b="0" dirty="0">
              <a:sym typeface="+mn-lt"/>
            </a:endParaRPr>
          </a:p>
        </p:txBody>
      </p:sp>
      <p:sp>
        <p:nvSpPr>
          <p:cNvPr id="49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000903" y="4205882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de-DE" sz="1100" b="0" dirty="0">
                <a:sym typeface="+mn-lt"/>
              </a:rPr>
              <a:t>2019</a:t>
            </a:r>
          </a:p>
        </p:txBody>
      </p:sp>
      <p:graphicFrame>
        <p:nvGraphicFramePr>
          <p:cNvPr id="50" name="Tabelle 49"/>
          <p:cNvGraphicFramePr>
            <a:graphicFrameLocks noGrp="1"/>
          </p:cNvGraphicFramePr>
          <p:nvPr/>
        </p:nvGraphicFramePr>
        <p:xfrm>
          <a:off x="6823194" y="1702289"/>
          <a:ext cx="1945450" cy="121236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5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12361">
                <a:tc>
                  <a:txBody>
                    <a:bodyPr/>
                    <a:lstStyle/>
                    <a:p>
                      <a:pPr marL="0" lvl="1" algn="ctr"/>
                      <a:r>
                        <a:rPr lang="de-AT" sz="1000" dirty="0"/>
                        <a:t>Amsterdam</a:t>
                      </a:r>
                    </a:p>
                    <a:p>
                      <a:pPr marL="0" lvl="1" algn="ctr"/>
                      <a:r>
                        <a:rPr lang="de-AT" sz="1000" dirty="0" err="1"/>
                        <a:t>Bucharest</a:t>
                      </a:r>
                      <a:endParaRPr lang="de-AT" sz="1000" dirty="0"/>
                    </a:p>
                    <a:p>
                      <a:pPr marL="0" lvl="1" algn="ctr"/>
                      <a:r>
                        <a:rPr lang="de-AT" sz="1000" dirty="0"/>
                        <a:t>Frankfurt</a:t>
                      </a:r>
                    </a:p>
                    <a:p>
                      <a:pPr marL="0" lvl="1" algn="ctr"/>
                      <a:r>
                        <a:rPr lang="de-AT" sz="1000" dirty="0"/>
                        <a:t>London</a:t>
                      </a:r>
                    </a:p>
                    <a:p>
                      <a:pPr marL="0" lvl="1" algn="ctr"/>
                      <a:r>
                        <a:rPr lang="de-AT" sz="1000" dirty="0"/>
                        <a:t>New York</a:t>
                      </a:r>
                    </a:p>
                    <a:p>
                      <a:pPr marL="0" lvl="1" algn="ctr"/>
                      <a:r>
                        <a:rPr lang="de-AT" sz="1000" dirty="0"/>
                        <a:t>Paris</a:t>
                      </a:r>
                    </a:p>
                    <a:p>
                      <a:pPr marL="0" lvl="1" algn="ctr"/>
                      <a:r>
                        <a:rPr lang="de-AT" sz="1000" dirty="0" err="1"/>
                        <a:t>Warsaw</a:t>
                      </a:r>
                      <a:endParaRPr lang="de-AT" sz="1000" dirty="0"/>
                    </a:p>
                  </a:txBody>
                  <a:tcPr marT="34290" marB="34290">
                    <a:lnL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3" name="Rectangle 5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6759747" y="1381304"/>
            <a:ext cx="220195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rIns="90000" anchor="b">
            <a:sp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ea typeface="ＭＳ Ｐゴシック"/>
              </a:rPr>
              <a:t>Destinations </a:t>
            </a:r>
          </a:p>
        </p:txBody>
      </p:sp>
      <p:cxnSp>
        <p:nvCxnSpPr>
          <p:cNvPr id="54" name="Gerade Verbindung 14"/>
          <p:cNvCxnSpPr/>
          <p:nvPr/>
        </p:nvCxnSpPr>
        <p:spPr bwMode="auto">
          <a:xfrm>
            <a:off x="6823194" y="1655863"/>
            <a:ext cx="19454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aphicFrame>
        <p:nvGraphicFramePr>
          <p:cNvPr id="55" name="Tabelle 54"/>
          <p:cNvGraphicFramePr>
            <a:graphicFrameLocks noGrp="1"/>
          </p:cNvGraphicFramePr>
          <p:nvPr/>
        </p:nvGraphicFramePr>
        <p:xfrm>
          <a:off x="6823188" y="3531392"/>
          <a:ext cx="1945450" cy="87987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5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79874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000" dirty="0"/>
                        <a:t>Baader Bank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000" dirty="0"/>
                        <a:t>Erste Group</a:t>
                      </a:r>
                      <a:br>
                        <a:rPr lang="de-AT" sz="1000" dirty="0"/>
                      </a:br>
                      <a:r>
                        <a:rPr lang="de-AT" sz="1000" dirty="0"/>
                        <a:t>Hauck &amp; </a:t>
                      </a:r>
                      <a:r>
                        <a:rPr lang="de-AT" sz="1000" dirty="0" err="1"/>
                        <a:t>Aufhäuser</a:t>
                      </a:r>
                      <a:endParaRPr lang="de-AT" sz="1000" dirty="0"/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000" dirty="0"/>
                        <a:t>Kepler </a:t>
                      </a:r>
                      <a:r>
                        <a:rPr lang="de-AT" sz="1000" dirty="0" err="1"/>
                        <a:t>Cheuvreux</a:t>
                      </a:r>
                      <a:endParaRPr lang="de-AT" sz="1000" dirty="0"/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000" dirty="0"/>
                        <a:t>Raiffeisen </a:t>
                      </a:r>
                      <a:r>
                        <a:rPr lang="de-AT" sz="1000" dirty="0" err="1"/>
                        <a:t>Centrobank</a:t>
                      </a:r>
                      <a:endParaRPr lang="de-AT" sz="1000" dirty="0"/>
                    </a:p>
                  </a:txBody>
                  <a:tcPr marT="34290" marB="34290">
                    <a:lnL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6" name="Rectangle 5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6823188" y="3112897"/>
            <a:ext cx="220195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rIns="90000" anchor="b">
            <a:sp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ea typeface="ＭＳ Ｐゴシック"/>
              </a:rPr>
              <a:t>Bank partners</a:t>
            </a:r>
          </a:p>
        </p:txBody>
      </p:sp>
      <p:cxnSp>
        <p:nvCxnSpPr>
          <p:cNvPr id="57" name="Gerade Verbindung 14"/>
          <p:cNvCxnSpPr/>
          <p:nvPr/>
        </p:nvCxnSpPr>
        <p:spPr bwMode="auto">
          <a:xfrm>
            <a:off x="6823188" y="3403012"/>
            <a:ext cx="19454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0" name="Rectangle 2"/>
          <p:cNvSpPr txBox="1">
            <a:spLocks noChangeArrowheads="1"/>
          </p:cNvSpPr>
          <p:nvPr/>
        </p:nvSpPr>
        <p:spPr>
          <a:xfrm>
            <a:off x="371474" y="269875"/>
            <a:ext cx="7092951" cy="962025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de-AT" dirty="0" err="1"/>
              <a:t>Presentation</a:t>
            </a:r>
            <a:r>
              <a:rPr lang="de-AT" dirty="0"/>
              <a:t> </a:t>
            </a:r>
            <a:r>
              <a:rPr lang="de-AT" dirty="0" err="1"/>
              <a:t>of</a:t>
            </a:r>
            <a:r>
              <a:rPr lang="de-AT" dirty="0"/>
              <a:t> Austrian </a:t>
            </a:r>
            <a:r>
              <a:rPr lang="de-AT" dirty="0" err="1"/>
              <a:t>companies</a:t>
            </a:r>
            <a:r>
              <a:rPr lang="de-AT" dirty="0"/>
              <a:t> </a:t>
            </a:r>
            <a:br>
              <a:rPr lang="de-AT" dirty="0"/>
            </a:br>
            <a:r>
              <a:rPr lang="de-AT" dirty="0"/>
              <a:t>at international </a:t>
            </a:r>
            <a:r>
              <a:rPr lang="de-AT" dirty="0" err="1"/>
              <a:t>financial</a:t>
            </a:r>
            <a:r>
              <a:rPr lang="de-AT" dirty="0"/>
              <a:t> </a:t>
            </a:r>
            <a:r>
              <a:rPr lang="de-AT" dirty="0" err="1"/>
              <a:t>centers</a:t>
            </a:r>
            <a:endParaRPr lang="en-US" sz="1600" b="0" kern="0" dirty="0"/>
          </a:p>
        </p:txBody>
      </p:sp>
      <p:sp>
        <p:nvSpPr>
          <p:cNvPr id="41" name="Text Box 10"/>
          <p:cNvSpPr txBox="1">
            <a:spLocks noChangeArrowheads="1"/>
          </p:cNvSpPr>
          <p:nvPr/>
        </p:nvSpPr>
        <p:spPr bwMode="auto">
          <a:xfrm>
            <a:off x="371474" y="4778856"/>
            <a:ext cx="429739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de-AT" sz="800" dirty="0"/>
              <a:t>Source: Wiener Börse AG – </a:t>
            </a:r>
            <a:r>
              <a:rPr lang="de-AT" sz="800" dirty="0" err="1"/>
              <a:t>December</a:t>
            </a:r>
            <a:r>
              <a:rPr lang="de-AT" sz="800" dirty="0"/>
              <a:t> 2020</a:t>
            </a:r>
            <a:endParaRPr lang="en-US" sz="800" dirty="0"/>
          </a:p>
        </p:txBody>
      </p:sp>
      <p:sp>
        <p:nvSpPr>
          <p:cNvPr id="42" name="Rectangle 3">
            <a:extLst>
              <a:ext uri="{FF2B5EF4-FFF2-40B4-BE49-F238E27FC236}">
                <a16:creationId xmlns:a16="http://schemas.microsoft.com/office/drawing/2014/main" id="{16CB8529-AAE8-452B-A29C-8834B3414356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852438" y="2682039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en-US" sz="1100" b="0" dirty="0">
                <a:sym typeface="+mn-lt"/>
              </a:rPr>
              <a:t>2020</a:t>
            </a:r>
            <a:endParaRPr lang="en-US" sz="1100" b="0" dirty="0">
              <a:sym typeface="+mn-lt"/>
            </a:endParaRPr>
          </a:p>
        </p:txBody>
      </p:sp>
      <p:sp>
        <p:nvSpPr>
          <p:cNvPr id="43" name="Rectangle 3">
            <a:extLst>
              <a:ext uri="{FF2B5EF4-FFF2-40B4-BE49-F238E27FC236}">
                <a16:creationId xmlns:a16="http://schemas.microsoft.com/office/drawing/2014/main" id="{16CB8529-AAE8-452B-A29C-8834B3414356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764657" y="4205882"/>
            <a:ext cx="34925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en-US" sz="1100" b="0" dirty="0">
                <a:sym typeface="+mn-lt"/>
              </a:rPr>
              <a:t>2020</a:t>
            </a:r>
            <a:endParaRPr lang="en-US" sz="1100" b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896312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6F5B6D7F-A656-4DFB-BB9C-8B751C5F6F2A}"/>
              </a:ext>
            </a:extLst>
          </p:cNvPr>
          <p:cNvSpPr txBox="1">
            <a:spLocks noChangeArrowheads="1"/>
          </p:cNvSpPr>
          <p:nvPr/>
        </p:nvSpPr>
        <p:spPr>
          <a:xfrm>
            <a:off x="3470128" y="1563638"/>
            <a:ext cx="4702272" cy="2736304"/>
          </a:xfrm>
          <a:prstGeom prst="rect">
            <a:avLst/>
          </a:prstGeom>
        </p:spPr>
        <p:txBody>
          <a:bodyPr anchor="b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9pPr>
          </a:lstStyle>
          <a:p>
            <a:r>
              <a:rPr lang="en-US" sz="1600" b="1" dirty="0">
                <a:latin typeface="+mn-lt"/>
              </a:rPr>
              <a:t>Edith Franc</a:t>
            </a:r>
          </a:p>
          <a:p>
            <a:r>
              <a:rPr lang="en-US" sz="1600" dirty="0">
                <a:latin typeface="+mn-lt"/>
              </a:rPr>
              <a:t>Head of Public Affairs, Financial Literacy &amp; Events</a:t>
            </a:r>
          </a:p>
          <a:p>
            <a:r>
              <a:rPr lang="en-US" sz="1600" dirty="0">
                <a:latin typeface="+mn-lt"/>
              </a:rPr>
              <a:t>+43 1 531 65 104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latin typeface="+mn-lt"/>
              </a:rPr>
              <a:t>edith.franc@wienerboerse.at</a:t>
            </a:r>
          </a:p>
          <a:p>
            <a:endParaRPr lang="de-AT" sz="1600" b="1" dirty="0">
              <a:latin typeface="+mn-lt"/>
              <a:sym typeface="+mj-lt"/>
            </a:endParaRPr>
          </a:p>
          <a:p>
            <a:r>
              <a:rPr lang="en-US" sz="1600" b="1" dirty="0">
                <a:latin typeface="+mn-lt"/>
              </a:rPr>
              <a:t>Julia Resch</a:t>
            </a:r>
          </a:p>
          <a:p>
            <a:r>
              <a:rPr lang="en-US" sz="1600" dirty="0">
                <a:latin typeface="+mn-lt"/>
              </a:rPr>
              <a:t>Head of Corporate Communications &amp; Marketing </a:t>
            </a:r>
          </a:p>
          <a:p>
            <a:r>
              <a:rPr lang="en-US" sz="1600" dirty="0">
                <a:latin typeface="+mn-lt"/>
              </a:rPr>
              <a:t>Spokesperson </a:t>
            </a:r>
          </a:p>
          <a:p>
            <a:r>
              <a:rPr lang="en-US" sz="1600" dirty="0">
                <a:latin typeface="+mn-lt"/>
              </a:rPr>
              <a:t>+43 1 53165 186 </a:t>
            </a:r>
          </a:p>
          <a:p>
            <a:r>
              <a:rPr lang="en-US" sz="1600" dirty="0">
                <a:latin typeface="+mn-lt"/>
              </a:rPr>
              <a:t>julia.resch@wienerboerse.at</a:t>
            </a:r>
          </a:p>
        </p:txBody>
      </p:sp>
    </p:spTree>
    <p:extLst>
      <p:ext uri="{BB962C8B-B14F-4D97-AF65-F5344CB8AC3E}">
        <p14:creationId xmlns:p14="http://schemas.microsoft.com/office/powerpoint/2010/main" val="42809415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6D7C5F2A-F9F2-3342-82BC-8C381F0554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F50C209-AD1C-481B-A9FC-A01D5E3978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B834FEB-5CE9-478E-B36F-D9E76D4A3ADD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r>
              <a:rPr lang="de-DE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78D65DE6-77F3-5641-B500-356C20E62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5BF69F2-4DEE-214D-AE62-909BD5D28F0B}"/>
              </a:ext>
            </a:extLst>
          </p:cNvPr>
          <p:cNvSpPr/>
          <p:nvPr/>
        </p:nvSpPr>
        <p:spPr bwMode="auto">
          <a:xfrm rot="-660000">
            <a:off x="5513773" y="1788199"/>
            <a:ext cx="4943197" cy="3527778"/>
          </a:xfrm>
          <a:prstGeom prst="rect">
            <a:avLst/>
          </a:prstGeom>
          <a:solidFill>
            <a:schemeClr val="bg1">
              <a:alpha val="32000"/>
            </a:schemeClr>
          </a:solidFill>
          <a:ln w="0" cap="flat" cmpd="sng" algn="ctr">
            <a:solidFill>
              <a:srgbClr val="C8AC7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highlight>
                <a:srgbClr val="C8AC7C"/>
              </a:highlight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6B268C3-028E-324F-9E19-ED62C512B0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81" t="1690"/>
          <a:stretch/>
        </p:blipFill>
        <p:spPr>
          <a:xfrm rot="-660000">
            <a:off x="5693015" y="1854515"/>
            <a:ext cx="4804634" cy="3927930"/>
          </a:xfrm>
          <a:prstGeom prst="rect">
            <a:avLst/>
          </a:prstGeom>
        </p:spPr>
      </p:pic>
      <p:sp>
        <p:nvSpPr>
          <p:cNvPr id="14" name="Titel 3">
            <a:extLst>
              <a:ext uri="{FF2B5EF4-FFF2-40B4-BE49-F238E27FC236}">
                <a16:creationId xmlns:a16="http://schemas.microsoft.com/office/drawing/2014/main" id="{05ECA5A1-F87A-6B49-9167-F35646AB80D6}"/>
              </a:ext>
            </a:extLst>
          </p:cNvPr>
          <p:cNvSpPr txBox="1">
            <a:spLocks/>
          </p:cNvSpPr>
          <p:nvPr/>
        </p:nvSpPr>
        <p:spPr>
          <a:xfrm>
            <a:off x="371475" y="269875"/>
            <a:ext cx="7092949" cy="952500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a Theresia </a:t>
            </a:r>
            <a:r>
              <a:rPr lang="en-US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ündete</a:t>
            </a:r>
            <a:r>
              <a:rPr lang="en-US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71 die Wiener Börse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7B681DF-9D1A-F145-84D6-E73C5CDA0092}"/>
              </a:ext>
            </a:extLst>
          </p:cNvPr>
          <p:cNvSpPr/>
          <p:nvPr/>
        </p:nvSpPr>
        <p:spPr>
          <a:xfrm>
            <a:off x="1835696" y="2859782"/>
            <a:ext cx="178279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dirty="0" err="1">
                <a:solidFill>
                  <a:schemeClr val="bg1"/>
                </a:solidFill>
              </a:rPr>
              <a:t>Eröffnung</a:t>
            </a:r>
            <a:r>
              <a:rPr lang="en-US" sz="1400" dirty="0">
                <a:solidFill>
                  <a:schemeClr val="bg1"/>
                </a:solidFill>
              </a:rPr>
              <a:t> der </a:t>
            </a:r>
            <a:r>
              <a:rPr lang="en-US" sz="1400" dirty="0" err="1">
                <a:solidFill>
                  <a:schemeClr val="bg1"/>
                </a:solidFill>
              </a:rPr>
              <a:t>Börse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CD0E0F-0BE9-8A4F-98AB-51A470E07198}"/>
              </a:ext>
            </a:extLst>
          </p:cNvPr>
          <p:cNvSpPr/>
          <p:nvPr/>
        </p:nvSpPr>
        <p:spPr>
          <a:xfrm>
            <a:off x="374824" y="1432214"/>
            <a:ext cx="207133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dirty="0" err="1">
                <a:solidFill>
                  <a:schemeClr val="bg1"/>
                </a:solidFill>
              </a:rPr>
              <a:t>Gründungspatent</a:t>
            </a:r>
            <a:r>
              <a:rPr lang="en-US" sz="1400" dirty="0">
                <a:solidFill>
                  <a:schemeClr val="bg1"/>
                </a:solidFill>
              </a:rPr>
              <a:t> von </a:t>
            </a:r>
          </a:p>
          <a:p>
            <a:pPr lvl="0"/>
            <a:r>
              <a:rPr lang="en-US" sz="1400" dirty="0" err="1">
                <a:solidFill>
                  <a:schemeClr val="bg1"/>
                </a:solidFill>
              </a:rPr>
              <a:t>Kaiserin</a:t>
            </a:r>
            <a:r>
              <a:rPr lang="en-US" sz="1400" dirty="0">
                <a:solidFill>
                  <a:schemeClr val="bg1"/>
                </a:solidFill>
              </a:rPr>
              <a:t> Maria Theresia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06E8CB1-37FD-A548-B9F4-AB3941A0D779}"/>
              </a:ext>
            </a:extLst>
          </p:cNvPr>
          <p:cNvSpPr/>
          <p:nvPr/>
        </p:nvSpPr>
        <p:spPr bwMode="auto">
          <a:xfrm>
            <a:off x="462983" y="2228679"/>
            <a:ext cx="2956889" cy="307777"/>
          </a:xfrm>
          <a:prstGeom prst="rect">
            <a:avLst/>
          </a:prstGeom>
          <a:solidFill>
            <a:srgbClr val="C8AC7C"/>
          </a:solidFill>
          <a:ln w="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highlight>
                <a:srgbClr val="C8AC7C"/>
              </a:highlight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CDBF5CE-C5DC-3448-BE3C-0B67DBE09DCC}"/>
              </a:ext>
            </a:extLst>
          </p:cNvPr>
          <p:cNvSpPr/>
          <p:nvPr/>
        </p:nvSpPr>
        <p:spPr>
          <a:xfrm>
            <a:off x="539552" y="2239070"/>
            <a:ext cx="113979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dirty="0">
                <a:solidFill>
                  <a:schemeClr val="bg1"/>
                </a:solidFill>
              </a:rPr>
              <a:t>1 Aug. 1771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53C4205-A412-7D45-8EF4-0961BC4049FD}"/>
              </a:ext>
            </a:extLst>
          </p:cNvPr>
          <p:cNvSpPr/>
          <p:nvPr/>
        </p:nvSpPr>
        <p:spPr>
          <a:xfrm>
            <a:off x="2103975" y="2237243"/>
            <a:ext cx="11993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dirty="0">
                <a:solidFill>
                  <a:schemeClr val="bg1"/>
                </a:solidFill>
              </a:rPr>
              <a:t>2 Sept. 1771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53DFADC7-69C4-8246-B19A-3020F592D893}"/>
              </a:ext>
            </a:extLst>
          </p:cNvPr>
          <p:cNvCxnSpPr>
            <a:stCxn id="17" idx="0"/>
            <a:endCxn id="17" idx="2"/>
          </p:cNvCxnSpPr>
          <p:nvPr/>
        </p:nvCxnSpPr>
        <p:spPr bwMode="auto">
          <a:xfrm>
            <a:off x="1941428" y="2228679"/>
            <a:ext cx="0" cy="30777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AF67D782-FB67-294A-9D02-3C654CAE8276}"/>
              </a:ext>
            </a:extLst>
          </p:cNvPr>
          <p:cNvCxnSpPr/>
          <p:nvPr/>
        </p:nvCxnSpPr>
        <p:spPr bwMode="auto">
          <a:xfrm>
            <a:off x="1187624" y="1995686"/>
            <a:ext cx="0" cy="23299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ysDot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053244E5-8F92-0149-9FB0-D21A6FB5D2B6}"/>
              </a:ext>
            </a:extLst>
          </p:cNvPr>
          <p:cNvCxnSpPr/>
          <p:nvPr/>
        </p:nvCxnSpPr>
        <p:spPr bwMode="auto">
          <a:xfrm rot="10800000">
            <a:off x="2648680" y="2531717"/>
            <a:ext cx="0" cy="23299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ysDot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2538970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6D7C5F2A-F9F2-3342-82BC-8C381F0554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F50C209-AD1C-481B-A9FC-A01D5E3978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B834FEB-5CE9-478E-B36F-D9E76D4A3ADD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r>
              <a:rPr lang="de-DE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78D65DE6-77F3-5641-B500-356C20E62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5BF69F2-4DEE-214D-AE62-909BD5D28F0B}"/>
              </a:ext>
            </a:extLst>
          </p:cNvPr>
          <p:cNvSpPr/>
          <p:nvPr/>
        </p:nvSpPr>
        <p:spPr bwMode="auto">
          <a:xfrm rot="-660000">
            <a:off x="5513773" y="1788199"/>
            <a:ext cx="4943197" cy="3527778"/>
          </a:xfrm>
          <a:prstGeom prst="rect">
            <a:avLst/>
          </a:prstGeom>
          <a:solidFill>
            <a:schemeClr val="bg1">
              <a:alpha val="32000"/>
            </a:schemeClr>
          </a:solidFill>
          <a:ln w="0" cap="flat" cmpd="sng" algn="ctr">
            <a:solidFill>
              <a:srgbClr val="C8AC7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highlight>
                <a:srgbClr val="C8AC7C"/>
              </a:highlight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6B268C3-028E-324F-9E19-ED62C512B0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81" t="1690"/>
          <a:stretch/>
        </p:blipFill>
        <p:spPr>
          <a:xfrm rot="-660000">
            <a:off x="5693015" y="1854515"/>
            <a:ext cx="4804634" cy="3927930"/>
          </a:xfrm>
          <a:prstGeom prst="rect">
            <a:avLst/>
          </a:prstGeom>
        </p:spPr>
      </p:pic>
      <p:sp>
        <p:nvSpPr>
          <p:cNvPr id="14" name="Titel 3">
            <a:extLst>
              <a:ext uri="{FF2B5EF4-FFF2-40B4-BE49-F238E27FC236}">
                <a16:creationId xmlns:a16="http://schemas.microsoft.com/office/drawing/2014/main" id="{05ECA5A1-F87A-6B49-9167-F35646AB80D6}"/>
              </a:ext>
            </a:extLst>
          </p:cNvPr>
          <p:cNvSpPr txBox="1">
            <a:spLocks/>
          </p:cNvSpPr>
          <p:nvPr/>
        </p:nvSpPr>
        <p:spPr>
          <a:xfrm>
            <a:off x="371475" y="269875"/>
            <a:ext cx="7092949" cy="952500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a Theresa founded the </a:t>
            </a:r>
            <a:br>
              <a:rPr lang="en-US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na Stock Exchange in 1771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7B681DF-9D1A-F145-84D6-E73C5CDA0092}"/>
              </a:ext>
            </a:extLst>
          </p:cNvPr>
          <p:cNvSpPr/>
          <p:nvPr/>
        </p:nvSpPr>
        <p:spPr>
          <a:xfrm>
            <a:off x="1835696" y="2859782"/>
            <a:ext cx="166584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dirty="0">
                <a:solidFill>
                  <a:schemeClr val="bg1"/>
                </a:solidFill>
              </a:rPr>
              <a:t>First day of trading</a:t>
            </a:r>
          </a:p>
          <a:p>
            <a:pPr lvl="0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CD0E0F-0BE9-8A4F-98AB-51A470E07198}"/>
              </a:ext>
            </a:extLst>
          </p:cNvPr>
          <p:cNvSpPr/>
          <p:nvPr/>
        </p:nvSpPr>
        <p:spPr>
          <a:xfrm>
            <a:off x="374823" y="1432214"/>
            <a:ext cx="232496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400" dirty="0">
                <a:solidFill>
                  <a:schemeClr val="bg1"/>
                </a:solidFill>
              </a:rPr>
              <a:t>Founding Charter of </a:t>
            </a:r>
          </a:p>
          <a:p>
            <a:pPr lvl="0"/>
            <a:r>
              <a:rPr lang="en-US" sz="1400" dirty="0">
                <a:solidFill>
                  <a:schemeClr val="bg1"/>
                </a:solidFill>
              </a:rPr>
              <a:t>Empress Maria Theresa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06E8CB1-37FD-A548-B9F4-AB3941A0D779}"/>
              </a:ext>
            </a:extLst>
          </p:cNvPr>
          <p:cNvSpPr/>
          <p:nvPr/>
        </p:nvSpPr>
        <p:spPr bwMode="auto">
          <a:xfrm>
            <a:off x="462983" y="2228679"/>
            <a:ext cx="2956889" cy="307777"/>
          </a:xfrm>
          <a:prstGeom prst="rect">
            <a:avLst/>
          </a:prstGeom>
          <a:solidFill>
            <a:srgbClr val="C8AC7C"/>
          </a:solidFill>
          <a:ln w="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highlight>
                <a:srgbClr val="C8AC7C"/>
              </a:highlight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CDBF5CE-C5DC-3448-BE3C-0B67DBE09DCC}"/>
              </a:ext>
            </a:extLst>
          </p:cNvPr>
          <p:cNvSpPr/>
          <p:nvPr/>
        </p:nvSpPr>
        <p:spPr>
          <a:xfrm>
            <a:off x="539552" y="2239070"/>
            <a:ext cx="113979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dirty="0">
                <a:solidFill>
                  <a:schemeClr val="bg1"/>
                </a:solidFill>
              </a:rPr>
              <a:t>1 Aug. 1771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53C4205-A412-7D45-8EF4-0961BC4049FD}"/>
              </a:ext>
            </a:extLst>
          </p:cNvPr>
          <p:cNvSpPr/>
          <p:nvPr/>
        </p:nvSpPr>
        <p:spPr>
          <a:xfrm>
            <a:off x="2103975" y="2237243"/>
            <a:ext cx="11993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dirty="0">
                <a:solidFill>
                  <a:schemeClr val="bg1"/>
                </a:solidFill>
              </a:rPr>
              <a:t>2 Sept. 1771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53DFADC7-69C4-8246-B19A-3020F592D893}"/>
              </a:ext>
            </a:extLst>
          </p:cNvPr>
          <p:cNvCxnSpPr>
            <a:stCxn id="17" idx="0"/>
            <a:endCxn id="17" idx="2"/>
          </p:cNvCxnSpPr>
          <p:nvPr/>
        </p:nvCxnSpPr>
        <p:spPr bwMode="auto">
          <a:xfrm>
            <a:off x="1941428" y="2228679"/>
            <a:ext cx="0" cy="30777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AF67D782-FB67-294A-9D02-3C654CAE8276}"/>
              </a:ext>
            </a:extLst>
          </p:cNvPr>
          <p:cNvCxnSpPr/>
          <p:nvPr/>
        </p:nvCxnSpPr>
        <p:spPr bwMode="auto">
          <a:xfrm>
            <a:off x="1187624" y="1995686"/>
            <a:ext cx="0" cy="23299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ysDot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053244E5-8F92-0149-9FB0-D21A6FB5D2B6}"/>
              </a:ext>
            </a:extLst>
          </p:cNvPr>
          <p:cNvCxnSpPr/>
          <p:nvPr/>
        </p:nvCxnSpPr>
        <p:spPr bwMode="auto">
          <a:xfrm rot="10800000">
            <a:off x="2648680" y="2531717"/>
            <a:ext cx="0" cy="23299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ysDot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8987633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77D14137-86B4-424B-A7FF-E3EB247D0D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20" b="31811"/>
          <a:stretch/>
        </p:blipFill>
        <p:spPr>
          <a:xfrm>
            <a:off x="-108520" y="-368667"/>
            <a:ext cx="9852503" cy="55121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F50C209-AD1C-481B-A9FC-A01D5E3978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B834FEB-5CE9-478E-B36F-D9E76D4A3ADD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r>
              <a:rPr lang="de-DE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78D65DE6-77F3-5641-B500-356C20E62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5BF69F2-4DEE-214D-AE62-909BD5D28F0B}"/>
              </a:ext>
            </a:extLst>
          </p:cNvPr>
          <p:cNvSpPr/>
          <p:nvPr/>
        </p:nvSpPr>
        <p:spPr bwMode="auto">
          <a:xfrm rot="-660000">
            <a:off x="5367212" y="1930826"/>
            <a:ext cx="4943197" cy="3527778"/>
          </a:xfrm>
          <a:prstGeom prst="rect">
            <a:avLst/>
          </a:prstGeom>
          <a:solidFill>
            <a:schemeClr val="bg1">
              <a:alpha val="32000"/>
            </a:schemeClr>
          </a:solidFill>
          <a:ln w="0" cap="flat" cmpd="sng" algn="ctr">
            <a:solidFill>
              <a:srgbClr val="C8AC7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highlight>
                <a:srgbClr val="C8AC7C"/>
              </a:highlight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4" name="Titel 3">
            <a:extLst>
              <a:ext uri="{FF2B5EF4-FFF2-40B4-BE49-F238E27FC236}">
                <a16:creationId xmlns:a16="http://schemas.microsoft.com/office/drawing/2014/main" id="{05ECA5A1-F87A-6B49-9167-F35646AB80D6}"/>
              </a:ext>
            </a:extLst>
          </p:cNvPr>
          <p:cNvSpPr txBox="1">
            <a:spLocks/>
          </p:cNvSpPr>
          <p:nvPr/>
        </p:nvSpPr>
        <p:spPr>
          <a:xfrm>
            <a:off x="371475" y="269875"/>
            <a:ext cx="7092949" cy="952500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dwig van Beethoven – </a:t>
            </a:r>
          </a:p>
          <a:p>
            <a:r>
              <a:rPr lang="de-AT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er der </a:t>
            </a:r>
            <a:r>
              <a:rPr lang="de-AT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sten Aktionäre </a:t>
            </a:r>
            <a:r>
              <a:rPr lang="de-AT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Österreich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7B681DF-9D1A-F145-84D6-E73C5CDA0092}"/>
              </a:ext>
            </a:extLst>
          </p:cNvPr>
          <p:cNvSpPr/>
          <p:nvPr/>
        </p:nvSpPr>
        <p:spPr>
          <a:xfrm>
            <a:off x="1592145" y="2912626"/>
            <a:ext cx="277191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de-AT" sz="1400" dirty="0" err="1">
                <a:solidFill>
                  <a:schemeClr val="bg1"/>
                </a:solidFill>
              </a:rPr>
              <a:t>Oesterreichische</a:t>
            </a:r>
            <a:r>
              <a:rPr lang="de-AT" sz="1400" dirty="0">
                <a:solidFill>
                  <a:schemeClr val="bg1"/>
                </a:solidFill>
              </a:rPr>
              <a:t> Nationalbank </a:t>
            </a:r>
          </a:p>
          <a:p>
            <a:pPr lvl="0"/>
            <a:r>
              <a:rPr lang="de-AT" sz="1400" dirty="0">
                <a:solidFill>
                  <a:schemeClr val="bg1"/>
                </a:solidFill>
              </a:rPr>
              <a:t>die erste Aktie in Wie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CD0E0F-0BE9-8A4F-98AB-51A470E07198}"/>
              </a:ext>
            </a:extLst>
          </p:cNvPr>
          <p:cNvSpPr/>
          <p:nvPr/>
        </p:nvSpPr>
        <p:spPr>
          <a:xfrm>
            <a:off x="374824" y="1432214"/>
            <a:ext cx="2774606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de-AT" sz="1400" dirty="0">
                <a:solidFill>
                  <a:schemeClr val="bg1"/>
                </a:solidFill>
              </a:rPr>
              <a:t>Auch er wusste: </a:t>
            </a:r>
          </a:p>
          <a:p>
            <a:pPr lvl="0"/>
            <a:r>
              <a:rPr lang="de-AT" sz="1400" dirty="0">
                <a:solidFill>
                  <a:schemeClr val="bg1"/>
                </a:solidFill>
              </a:rPr>
              <a:t>Was Vermögensaufbau anlangt, </a:t>
            </a:r>
          </a:p>
          <a:p>
            <a:pPr lvl="0"/>
            <a:r>
              <a:rPr lang="de-AT" sz="1400" dirty="0">
                <a:solidFill>
                  <a:schemeClr val="bg1"/>
                </a:solidFill>
              </a:rPr>
              <a:t>spielt die Musik an der Börse.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06E8CB1-37FD-A548-B9F4-AB3941A0D779}"/>
              </a:ext>
            </a:extLst>
          </p:cNvPr>
          <p:cNvSpPr/>
          <p:nvPr/>
        </p:nvSpPr>
        <p:spPr bwMode="auto">
          <a:xfrm>
            <a:off x="1641818" y="2329735"/>
            <a:ext cx="994895" cy="318168"/>
          </a:xfrm>
          <a:prstGeom prst="rect">
            <a:avLst/>
          </a:prstGeom>
          <a:solidFill>
            <a:srgbClr val="C8AC7C"/>
          </a:solidFill>
          <a:ln w="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highlight>
                <a:srgbClr val="C8AC7C"/>
              </a:highlight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CDBF5CE-C5DC-3448-BE3C-0B67DBE09DCC}"/>
              </a:ext>
            </a:extLst>
          </p:cNvPr>
          <p:cNvSpPr/>
          <p:nvPr/>
        </p:nvSpPr>
        <p:spPr>
          <a:xfrm>
            <a:off x="1848159" y="2329734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dirty="0">
                <a:solidFill>
                  <a:schemeClr val="bg1"/>
                </a:solidFill>
              </a:rPr>
              <a:t>1818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053244E5-8F92-0149-9FB0-D21A6FB5D2B6}"/>
              </a:ext>
            </a:extLst>
          </p:cNvPr>
          <p:cNvCxnSpPr/>
          <p:nvPr/>
        </p:nvCxnSpPr>
        <p:spPr bwMode="auto">
          <a:xfrm rot="10800000">
            <a:off x="2132663" y="2643758"/>
            <a:ext cx="0" cy="23299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ysDot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pic>
        <p:nvPicPr>
          <p:cNvPr id="6" name="Grafik 5">
            <a:extLst>
              <a:ext uri="{FF2B5EF4-FFF2-40B4-BE49-F238E27FC236}">
                <a16:creationId xmlns:a16="http://schemas.microsoft.com/office/drawing/2014/main" id="{183DBE61-B421-E64D-B91E-BC75CBEAA7C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0" t="2174" r="1895" b="4348"/>
          <a:stretch/>
        </p:blipFill>
        <p:spPr>
          <a:xfrm rot="-660000">
            <a:off x="5504961" y="1970104"/>
            <a:ext cx="5311155" cy="351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1863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77D14137-86B4-424B-A7FF-E3EB247D0D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20" b="31811"/>
          <a:stretch/>
        </p:blipFill>
        <p:spPr>
          <a:xfrm>
            <a:off x="-108520" y="-368667"/>
            <a:ext cx="9852503" cy="55121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F50C209-AD1C-481B-A9FC-A01D5E3978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B834FEB-5CE9-478E-B36F-D9E76D4A3ADD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r>
              <a:rPr lang="de-DE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78D65DE6-77F3-5641-B500-356C20E62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5BF69F2-4DEE-214D-AE62-909BD5D28F0B}"/>
              </a:ext>
            </a:extLst>
          </p:cNvPr>
          <p:cNvSpPr/>
          <p:nvPr/>
        </p:nvSpPr>
        <p:spPr bwMode="auto">
          <a:xfrm rot="-660000">
            <a:off x="5367212" y="1930826"/>
            <a:ext cx="4943197" cy="3527778"/>
          </a:xfrm>
          <a:prstGeom prst="rect">
            <a:avLst/>
          </a:prstGeom>
          <a:solidFill>
            <a:schemeClr val="bg1">
              <a:alpha val="32000"/>
            </a:schemeClr>
          </a:solidFill>
          <a:ln w="0" cap="flat" cmpd="sng" algn="ctr">
            <a:solidFill>
              <a:srgbClr val="C8AC7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highlight>
                <a:srgbClr val="C8AC7C"/>
              </a:highlight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4" name="Titel 3">
            <a:extLst>
              <a:ext uri="{FF2B5EF4-FFF2-40B4-BE49-F238E27FC236}">
                <a16:creationId xmlns:a16="http://schemas.microsoft.com/office/drawing/2014/main" id="{05ECA5A1-F87A-6B49-9167-F35646AB80D6}"/>
              </a:ext>
            </a:extLst>
          </p:cNvPr>
          <p:cNvSpPr txBox="1">
            <a:spLocks/>
          </p:cNvSpPr>
          <p:nvPr/>
        </p:nvSpPr>
        <p:spPr>
          <a:xfrm>
            <a:off x="371475" y="269875"/>
            <a:ext cx="7092949" cy="952500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dwig van Beethoven – </a:t>
            </a:r>
          </a:p>
          <a:p>
            <a:r>
              <a:rPr lang="en-US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of the first shareholders in Austria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7B681DF-9D1A-F145-84D6-E73C5CDA0092}"/>
              </a:ext>
            </a:extLst>
          </p:cNvPr>
          <p:cNvSpPr/>
          <p:nvPr/>
        </p:nvSpPr>
        <p:spPr>
          <a:xfrm>
            <a:off x="1763688" y="2912626"/>
            <a:ext cx="224452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dirty="0">
                <a:solidFill>
                  <a:schemeClr val="bg1"/>
                </a:solidFill>
              </a:rPr>
              <a:t>Austrian central bank</a:t>
            </a:r>
          </a:p>
          <a:p>
            <a:pPr lvl="0"/>
            <a:r>
              <a:rPr lang="en-US" sz="1400" dirty="0">
                <a:solidFill>
                  <a:schemeClr val="bg1"/>
                </a:solidFill>
              </a:rPr>
              <a:t>first to be listed in Vienna 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CD0E0F-0BE9-8A4F-98AB-51A470E07198}"/>
              </a:ext>
            </a:extLst>
          </p:cNvPr>
          <p:cNvSpPr/>
          <p:nvPr/>
        </p:nvSpPr>
        <p:spPr>
          <a:xfrm>
            <a:off x="374824" y="1432214"/>
            <a:ext cx="2701381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dirty="0">
                <a:solidFill>
                  <a:schemeClr val="bg1"/>
                </a:solidFill>
              </a:rPr>
              <a:t>He also knew: </a:t>
            </a:r>
          </a:p>
          <a:p>
            <a:pPr lvl="0"/>
            <a:r>
              <a:rPr lang="en-US" sz="1400" dirty="0">
                <a:solidFill>
                  <a:schemeClr val="bg1"/>
                </a:solidFill>
              </a:rPr>
              <a:t>If you want to create wealth,</a:t>
            </a:r>
          </a:p>
          <a:p>
            <a:pPr lvl="0"/>
            <a:r>
              <a:rPr lang="en-US" sz="1400" dirty="0">
                <a:solidFill>
                  <a:schemeClr val="bg1"/>
                </a:solidFill>
              </a:rPr>
              <a:t>the stock market calls the tune.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06E8CB1-37FD-A548-B9F4-AB3941A0D779}"/>
              </a:ext>
            </a:extLst>
          </p:cNvPr>
          <p:cNvSpPr/>
          <p:nvPr/>
        </p:nvSpPr>
        <p:spPr bwMode="auto">
          <a:xfrm>
            <a:off x="1813361" y="2329735"/>
            <a:ext cx="994895" cy="318168"/>
          </a:xfrm>
          <a:prstGeom prst="rect">
            <a:avLst/>
          </a:prstGeom>
          <a:solidFill>
            <a:srgbClr val="C8AC7C"/>
          </a:solidFill>
          <a:ln w="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highlight>
                <a:srgbClr val="C8AC7C"/>
              </a:highlight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CDBF5CE-C5DC-3448-BE3C-0B67DBE09DCC}"/>
              </a:ext>
            </a:extLst>
          </p:cNvPr>
          <p:cNvSpPr/>
          <p:nvPr/>
        </p:nvSpPr>
        <p:spPr>
          <a:xfrm>
            <a:off x="2019702" y="2329734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dirty="0">
                <a:solidFill>
                  <a:schemeClr val="bg1"/>
                </a:solidFill>
              </a:rPr>
              <a:t>1818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053244E5-8F92-0149-9FB0-D21A6FB5D2B6}"/>
              </a:ext>
            </a:extLst>
          </p:cNvPr>
          <p:cNvCxnSpPr/>
          <p:nvPr/>
        </p:nvCxnSpPr>
        <p:spPr bwMode="auto">
          <a:xfrm rot="10800000">
            <a:off x="2304206" y="2663801"/>
            <a:ext cx="0" cy="23299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ysDot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pic>
        <p:nvPicPr>
          <p:cNvPr id="6" name="Grafik 5">
            <a:extLst>
              <a:ext uri="{FF2B5EF4-FFF2-40B4-BE49-F238E27FC236}">
                <a16:creationId xmlns:a16="http://schemas.microsoft.com/office/drawing/2014/main" id="{183DBE61-B421-E64D-B91E-BC75CBEAA7C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0" t="2174" r="1895" b="4348"/>
          <a:stretch/>
        </p:blipFill>
        <p:spPr>
          <a:xfrm rot="-660000">
            <a:off x="5504961" y="1970104"/>
            <a:ext cx="5311155" cy="351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565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F50C209-AD1C-481B-A9FC-A01D5E3978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B834FEB-5CE9-478E-B36F-D9E76D4A3ADD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r>
              <a:rPr lang="de-DE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EE96FB6-9483-44D9-B32D-4E8A0FFE8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Virtuelle Geburtstagsgrüße zum Jubiläum</a:t>
            </a:r>
            <a:br>
              <a:rPr lang="de-AT" dirty="0"/>
            </a:br>
            <a:endParaRPr lang="de-AT" dirty="0"/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E0A0B4BF-24B1-41FC-86EC-8B43C613EBE2}"/>
              </a:ext>
            </a:extLst>
          </p:cNvPr>
          <p:cNvSpPr>
            <a:spLocks noGrp="1" noChangeArrowheads="1"/>
          </p:cNvSpPr>
          <p:nvPr>
            <p:ph type="body" idx="12"/>
            <p:custDataLst>
              <p:tags r:id="rId1"/>
            </p:custDataLst>
          </p:nvPr>
        </p:nvSpPr>
        <p:spPr bwMode="auto">
          <a:xfrm>
            <a:off x="251521" y="1276624"/>
            <a:ext cx="2808311" cy="2879302"/>
          </a:xfrm>
          <a:prstGeom prst="rect">
            <a:avLst/>
          </a:prstGeom>
          <a:solidFill>
            <a:srgbClr val="FFFFFF"/>
          </a:solidFill>
          <a:ln w="6350" cap="rnd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46800" rIns="72000" bIns="46800"/>
          <a:lstStyle/>
          <a:p>
            <a:pPr marL="265113" lvl="1" indent="-263525">
              <a:buClr>
                <a:srgbClr val="D10019"/>
              </a:buClr>
              <a:buSzPct val="90000"/>
            </a:pPr>
            <a:r>
              <a:rPr lang="de-AT" sz="1200" b="1" dirty="0">
                <a:solidFill>
                  <a:srgbClr val="000000"/>
                </a:solidFill>
              </a:rPr>
              <a:t>Template für Ihr CEO-Zitat </a:t>
            </a:r>
          </a:p>
          <a:p>
            <a:pPr marL="277813" lvl="2" indent="0">
              <a:spcBef>
                <a:spcPct val="25000"/>
              </a:spcBef>
              <a:buClr>
                <a:schemeClr val="bg1">
                  <a:lumMod val="50000"/>
                </a:schemeClr>
              </a:buClr>
              <a:buSzPct val="80000"/>
              <a:buNone/>
            </a:pPr>
            <a:endParaRPr lang="de-AT" sz="1200" b="1" dirty="0">
              <a:solidFill>
                <a:srgbClr val="000000"/>
              </a:solidFill>
            </a:endParaRPr>
          </a:p>
          <a:p>
            <a:pPr marL="265113" lvl="1" indent="-263525">
              <a:buClr>
                <a:srgbClr val="D10019"/>
              </a:buClr>
              <a:buSzPct val="90000"/>
            </a:pPr>
            <a:r>
              <a:rPr lang="de-AT" sz="1200" b="1" dirty="0">
                <a:solidFill>
                  <a:srgbClr val="000000"/>
                </a:solidFill>
                <a:ea typeface="ＭＳ Ｐゴシック"/>
              </a:rPr>
              <a:t>Bitte um Zusendung bis zum Sommer für den offiziellen Geburtstag der Wiener Börse am 2. September 2021</a:t>
            </a:r>
          </a:p>
          <a:p>
            <a:pPr marL="277813" lvl="2" indent="0">
              <a:spcBef>
                <a:spcPct val="25000"/>
              </a:spcBef>
              <a:buClr>
                <a:schemeClr val="bg1">
                  <a:lumMod val="50000"/>
                </a:schemeClr>
              </a:buClr>
              <a:buSzPct val="80000"/>
              <a:buNone/>
            </a:pPr>
            <a:endParaRPr lang="de-AT" sz="1200" b="1" dirty="0">
              <a:solidFill>
                <a:srgbClr val="000000"/>
              </a:solidFill>
            </a:endParaRPr>
          </a:p>
          <a:p>
            <a:pPr marL="265113" lvl="1" indent="-263525">
              <a:buClr>
                <a:srgbClr val="D10019"/>
              </a:buClr>
              <a:buSzPct val="90000"/>
            </a:pPr>
            <a:r>
              <a:rPr lang="de-AT" sz="1200" b="1" dirty="0">
                <a:solidFill>
                  <a:srgbClr val="000000"/>
                </a:solidFill>
              </a:rPr>
              <a:t>Für Website und </a:t>
            </a:r>
            <a:r>
              <a:rPr lang="de-AT" sz="1200" b="1" dirty="0" err="1">
                <a:solidFill>
                  <a:srgbClr val="000000"/>
                </a:solidFill>
              </a:rPr>
              <a:t>Social</a:t>
            </a:r>
            <a:r>
              <a:rPr lang="de-AT" sz="1200" b="1" dirty="0">
                <a:solidFill>
                  <a:srgbClr val="000000"/>
                </a:solidFill>
              </a:rPr>
              <a:t> Media Kanäle der Wiener Börse und des Emittenten</a:t>
            </a:r>
          </a:p>
          <a:p>
            <a:pPr marL="1588" lvl="1" indent="0">
              <a:buClr>
                <a:srgbClr val="D10019"/>
              </a:buClr>
              <a:buSzPct val="90000"/>
              <a:buNone/>
            </a:pPr>
            <a:endParaRPr lang="de-AT" sz="1100" b="1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07F1CF30-ACD5-4056-AA17-4CB997D1D1C1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71109" y="1131590"/>
            <a:ext cx="4320479" cy="3310805"/>
          </a:xfrm>
          <a:prstGeom prst="rect">
            <a:avLst/>
          </a:prstGeom>
          <a:solidFill>
            <a:srgbClr val="FFFFFF"/>
          </a:solidFill>
          <a:ln w="6350" cap="rnd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46800" rIns="72000" bIns="46800"/>
          <a:lstStyle>
            <a:lvl1pPr marL="0" indent="0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rgbClr val="D10019"/>
              </a:buClr>
              <a:buSzPct val="150000"/>
              <a:buFont typeface="Wingdings" charset="0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0838" algn="l" rtl="0" eaLnBrk="1" fontAlgn="base" hangingPunct="1">
              <a:lnSpc>
                <a:spcPct val="11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70000"/>
              <a:buFont typeface="Wingdings" charset="0"/>
              <a:buChar char="n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0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55000"/>
              <a:buFont typeface="Wingdings" charset="0"/>
              <a:buChar char="¨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4192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8764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3336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7908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248025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265113" lvl="1" indent="-263525">
              <a:buClr>
                <a:srgbClr val="D10019"/>
              </a:buClr>
              <a:buSzPct val="90000"/>
            </a:pPr>
            <a:endParaRPr lang="de-AT" sz="120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7" name="Rectangle 67">
            <a:extLst>
              <a:ext uri="{FF2B5EF4-FFF2-40B4-BE49-F238E27FC236}">
                <a16:creationId xmlns:a16="http://schemas.microsoft.com/office/drawing/2014/main" id="{2FC542C1-F7A7-47F6-BC4A-107D58278E1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51924" y="4579115"/>
            <a:ext cx="8639663" cy="44090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lIns="90000" rIns="90000" anchor="ctr"/>
          <a:lstStyle/>
          <a:p>
            <a:pPr algn="ctr">
              <a:defRPr/>
            </a:pPr>
            <a:br>
              <a:rPr lang="de-AT" sz="1600" dirty="0">
                <a:solidFill>
                  <a:schemeClr val="bg1"/>
                </a:solidFill>
              </a:rPr>
            </a:br>
            <a:endParaRPr lang="de-AT" sz="16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de-AT" sz="1600" dirty="0">
                <a:solidFill>
                  <a:schemeClr val="bg1"/>
                </a:solidFill>
              </a:rPr>
              <a:t>„Ambassador der Wiener Börse“ - für das besondere Finanzmarkt-Jubiläum</a:t>
            </a:r>
          </a:p>
          <a:p>
            <a:pPr algn="ctr">
              <a:defRPr/>
            </a:pPr>
            <a:endParaRPr lang="de-AT" sz="1600" dirty="0">
              <a:solidFill>
                <a:schemeClr val="bg1"/>
              </a:solidFill>
            </a:endParaRPr>
          </a:p>
          <a:p>
            <a:pPr lvl="0" algn="ctr">
              <a:defRPr/>
            </a:pPr>
            <a:endParaRPr kumimoji="0" lang="en-US" sz="1400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239A1D32-ACF0-4A85-9DE4-672850E8F5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872" y="1334219"/>
            <a:ext cx="5355381" cy="267769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3843733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F50C209-AD1C-481B-A9FC-A01D5E3978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B834FEB-5CE9-478E-B36F-D9E76D4A3ADD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r>
              <a:rPr lang="de-DE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892CED0-73E8-0E49-BC33-CF989B826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6462B01-4DB2-5C4A-AEAD-57C750C815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691" y="-123478"/>
            <a:ext cx="898427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095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F50C209-AD1C-481B-A9FC-A01D5E3978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B834FEB-5CE9-478E-B36F-D9E76D4A3ADD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r>
              <a:rPr lang="de-DE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892CED0-73E8-0E49-BC33-CF989B826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BF74D01-2A7F-0547-8F07-E21F1EB70E6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9" y="260995"/>
            <a:ext cx="8412879" cy="4759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749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Die Wiener Börse auf einen Bli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B834FEB-5CE9-478E-B36F-D9E76D4A3ADD}" type="slidenum">
              <a:rPr lang="de-DE" smtClean="0"/>
              <a:pPr>
                <a:defRPr/>
              </a:pPr>
              <a:t>9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371475" y="4758117"/>
            <a:ext cx="47053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>
              <a:spcBef>
                <a:spcPct val="50000"/>
              </a:spcBef>
            </a:pPr>
            <a:r>
              <a:rPr lang="de-AT" sz="800" dirty="0"/>
              <a:t>Geregelte Märkte und Vienna MTF, Stand: Dezember 2020, Quelle: Wiener Börse AG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-231833" y="1504121"/>
            <a:ext cx="9294708" cy="2896434"/>
            <a:chOff x="-231833" y="1504121"/>
            <a:chExt cx="9294708" cy="2896434"/>
          </a:xfrm>
        </p:grpSpPr>
        <p:grpSp>
          <p:nvGrpSpPr>
            <p:cNvPr id="4" name="Gruppieren 3"/>
            <p:cNvGrpSpPr/>
            <p:nvPr/>
          </p:nvGrpSpPr>
          <p:grpSpPr>
            <a:xfrm>
              <a:off x="-231833" y="2742737"/>
              <a:ext cx="9294708" cy="1657818"/>
              <a:chOff x="-380695" y="2742737"/>
              <a:chExt cx="9294708" cy="1657818"/>
            </a:xfrm>
          </p:grpSpPr>
          <p:grpSp>
            <p:nvGrpSpPr>
              <p:cNvPr id="34" name="Gruppieren 33"/>
              <p:cNvGrpSpPr/>
              <p:nvPr/>
            </p:nvGrpSpPr>
            <p:grpSpPr>
              <a:xfrm>
                <a:off x="-380695" y="2742737"/>
                <a:ext cx="3233625" cy="1657814"/>
                <a:chOff x="-370595" y="2727788"/>
                <a:chExt cx="3408491" cy="1747463"/>
              </a:xfrm>
            </p:grpSpPr>
            <p:grpSp>
              <p:nvGrpSpPr>
                <p:cNvPr id="23" name="Gruppieren 22"/>
                <p:cNvGrpSpPr/>
                <p:nvPr/>
              </p:nvGrpSpPr>
              <p:grpSpPr>
                <a:xfrm>
                  <a:off x="610997" y="2727788"/>
                  <a:ext cx="1485088" cy="1357663"/>
                  <a:chOff x="244668" y="1491963"/>
                  <a:chExt cx="2176924" cy="1990136"/>
                </a:xfrm>
              </p:grpSpPr>
              <p:pic>
                <p:nvPicPr>
                  <p:cNvPr id="30" name="Picture 2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44668" y="1491963"/>
                    <a:ext cx="2176924" cy="199013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31" name="Rechteck 30"/>
                  <p:cNvSpPr/>
                  <p:nvPr/>
                </p:nvSpPr>
                <p:spPr>
                  <a:xfrm>
                    <a:off x="834470" y="2115713"/>
                    <a:ext cx="1133030" cy="689551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US" sz="1400" b="1" dirty="0">
                        <a:solidFill>
                          <a:schemeClr val="bg1"/>
                        </a:solidFill>
                      </a:rPr>
                      <a:t>108,18</a:t>
                    </a:r>
                    <a:endParaRPr lang="de-DE" sz="1400" b="1" dirty="0">
                      <a:solidFill>
                        <a:schemeClr val="bg1"/>
                      </a:solidFill>
                    </a:endParaRPr>
                  </a:p>
                  <a:p>
                    <a:pPr algn="ctr"/>
                    <a:r>
                      <a:rPr lang="de-DE" sz="900" dirty="0">
                        <a:solidFill>
                          <a:schemeClr val="bg1"/>
                        </a:solidFill>
                      </a:rPr>
                      <a:t>Mrd. Euro</a:t>
                    </a:r>
                  </a:p>
                </p:txBody>
              </p:sp>
            </p:grpSp>
            <p:sp>
              <p:nvSpPr>
                <p:cNvPr id="17" name="Textfeld 16"/>
                <p:cNvSpPr txBox="1"/>
                <p:nvPr/>
              </p:nvSpPr>
              <p:spPr>
                <a:xfrm>
                  <a:off x="-370595" y="3988621"/>
                  <a:ext cx="3408491" cy="4866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00" b="1" dirty="0">
                      <a:latin typeface="+mj-lt"/>
                    </a:rPr>
                    <a:t>Marktkapitalisierung</a:t>
                  </a:r>
                </a:p>
                <a:p>
                  <a:pPr algn="ctr"/>
                  <a:r>
                    <a:rPr lang="de-DE" sz="1200" dirty="0">
                      <a:latin typeface="+mj-lt"/>
                    </a:rPr>
                    <a:t>Inland</a:t>
                  </a:r>
                </a:p>
              </p:txBody>
            </p:sp>
          </p:grpSp>
          <p:grpSp>
            <p:nvGrpSpPr>
              <p:cNvPr id="37" name="Gruppieren 36"/>
              <p:cNvGrpSpPr/>
              <p:nvPr/>
            </p:nvGrpSpPr>
            <p:grpSpPr>
              <a:xfrm>
                <a:off x="4883252" y="2845920"/>
                <a:ext cx="2363468" cy="1554632"/>
                <a:chOff x="5154261" y="2836548"/>
                <a:chExt cx="2491278" cy="1638702"/>
              </a:xfrm>
            </p:grpSpPr>
            <p:sp>
              <p:nvSpPr>
                <p:cNvPr id="18" name="Textfeld 17"/>
                <p:cNvSpPr txBox="1"/>
                <p:nvPr/>
              </p:nvSpPr>
              <p:spPr>
                <a:xfrm>
                  <a:off x="5154261" y="3988620"/>
                  <a:ext cx="2491278" cy="4866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00" b="1" dirty="0">
                      <a:latin typeface="+mj-lt"/>
                    </a:rPr>
                    <a:t>Trading System Services</a:t>
                  </a:r>
                </a:p>
                <a:p>
                  <a:pPr algn="ctr"/>
                  <a:r>
                    <a:rPr lang="de-DE" sz="1200" dirty="0">
                      <a:latin typeface="+mj-lt"/>
                    </a:rPr>
                    <a:t>Für 5 Märkte</a:t>
                  </a:r>
                </a:p>
              </p:txBody>
            </p:sp>
            <p:grpSp>
              <p:nvGrpSpPr>
                <p:cNvPr id="24" name="Gruppieren 23"/>
                <p:cNvGrpSpPr/>
                <p:nvPr/>
              </p:nvGrpSpPr>
              <p:grpSpPr>
                <a:xfrm>
                  <a:off x="5702447" y="2836548"/>
                  <a:ext cx="1394905" cy="1045063"/>
                  <a:chOff x="2486030" y="1677262"/>
                  <a:chExt cx="1936565" cy="1385663"/>
                </a:xfrm>
              </p:grpSpPr>
              <p:pic>
                <p:nvPicPr>
                  <p:cNvPr id="28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486030" y="1677262"/>
                    <a:ext cx="1936565" cy="138566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29" name="Rechteck 28"/>
                  <p:cNvSpPr/>
                  <p:nvPr/>
                </p:nvSpPr>
                <p:spPr>
                  <a:xfrm>
                    <a:off x="2829315" y="2139834"/>
                    <a:ext cx="1133029" cy="73126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de-DE" sz="2800" b="1" dirty="0">
                        <a:solidFill>
                          <a:srgbClr val="D10019"/>
                        </a:solidFill>
                      </a:rPr>
                      <a:t>5</a:t>
                    </a:r>
                  </a:p>
                </p:txBody>
              </p:sp>
            </p:grpSp>
          </p:grpSp>
          <p:grpSp>
            <p:nvGrpSpPr>
              <p:cNvPr id="35" name="Gruppieren 34"/>
              <p:cNvGrpSpPr/>
              <p:nvPr/>
            </p:nvGrpSpPr>
            <p:grpSpPr>
              <a:xfrm>
                <a:off x="1727754" y="2884668"/>
                <a:ext cx="2363468" cy="1515887"/>
                <a:chOff x="1780623" y="2877390"/>
                <a:chExt cx="2491278" cy="1597861"/>
              </a:xfrm>
            </p:grpSpPr>
            <p:sp>
              <p:nvSpPr>
                <p:cNvPr id="19" name="Textfeld 18"/>
                <p:cNvSpPr txBox="1"/>
                <p:nvPr/>
              </p:nvSpPr>
              <p:spPr>
                <a:xfrm>
                  <a:off x="1780623" y="3988621"/>
                  <a:ext cx="2491278" cy="4866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00" b="1" dirty="0">
                      <a:latin typeface="+mj-lt"/>
                    </a:rPr>
                    <a:t>88 Handelsteilnehmer</a:t>
                  </a:r>
                </a:p>
                <a:p>
                  <a:pPr algn="ctr"/>
                  <a:r>
                    <a:rPr lang="de-DE" sz="1200">
                      <a:latin typeface="+mj-lt"/>
                    </a:rPr>
                    <a:t>davon 62 </a:t>
                  </a:r>
                  <a:r>
                    <a:rPr lang="de-DE" sz="1200" dirty="0">
                      <a:latin typeface="+mj-lt"/>
                    </a:rPr>
                    <a:t>international</a:t>
                  </a:r>
                </a:p>
              </p:txBody>
            </p:sp>
            <p:pic>
              <p:nvPicPr>
                <p:cNvPr id="25" name="Picture 4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330870" y="2877390"/>
                  <a:ext cx="1390783" cy="99113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36" name="Gruppieren 35"/>
              <p:cNvGrpSpPr/>
              <p:nvPr/>
            </p:nvGrpSpPr>
            <p:grpSpPr>
              <a:xfrm>
                <a:off x="3233056" y="2856744"/>
                <a:ext cx="2363468" cy="1543807"/>
                <a:chOff x="3474203" y="2847959"/>
                <a:chExt cx="2491278" cy="1627292"/>
              </a:xfrm>
            </p:grpSpPr>
            <p:sp>
              <p:nvSpPr>
                <p:cNvPr id="20" name="Textfeld 19"/>
                <p:cNvSpPr txBox="1"/>
                <p:nvPr/>
              </p:nvSpPr>
              <p:spPr>
                <a:xfrm>
                  <a:off x="3474203" y="3988620"/>
                  <a:ext cx="2491278" cy="4866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00" b="1" dirty="0">
                      <a:latin typeface="+mj-lt"/>
                    </a:rPr>
                    <a:t>140+ Indizes</a:t>
                  </a:r>
                </a:p>
                <a:p>
                  <a:pPr algn="ctr"/>
                  <a:r>
                    <a:rPr lang="de-DE" sz="1200" dirty="0">
                      <a:latin typeface="+mj-lt"/>
                    </a:rPr>
                    <a:t>Für 14 Märkte</a:t>
                  </a:r>
                </a:p>
              </p:txBody>
            </p:sp>
            <p:pic>
              <p:nvPicPr>
                <p:cNvPr id="26" name="Picture 6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63004" y="2847959"/>
                  <a:ext cx="1072572" cy="102224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33" name="Gruppieren 32"/>
              <p:cNvGrpSpPr/>
              <p:nvPr/>
            </p:nvGrpSpPr>
            <p:grpSpPr>
              <a:xfrm>
                <a:off x="6550545" y="2979323"/>
                <a:ext cx="2363468" cy="1421229"/>
                <a:chOff x="6733591" y="2977165"/>
                <a:chExt cx="2491278" cy="1498084"/>
              </a:xfrm>
            </p:grpSpPr>
            <p:pic>
              <p:nvPicPr>
                <p:cNvPr id="27" name="Picture 5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442073" y="2977165"/>
                  <a:ext cx="956746" cy="90444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2" name="Textfeld 21"/>
                <p:cNvSpPr txBox="1"/>
                <p:nvPr/>
              </p:nvSpPr>
              <p:spPr>
                <a:xfrm>
                  <a:off x="6733591" y="3988619"/>
                  <a:ext cx="2491278" cy="4866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200" b="1" dirty="0">
                      <a:latin typeface="+mj-lt"/>
                    </a:rPr>
                    <a:t>Market Data Hub</a:t>
                  </a:r>
                </a:p>
                <a:p>
                  <a:pPr algn="ctr"/>
                  <a:r>
                    <a:rPr lang="de-DE" sz="1200" dirty="0">
                      <a:latin typeface="+mj-lt"/>
                    </a:rPr>
                    <a:t>Für 11 Märkte</a:t>
                  </a:r>
                </a:p>
              </p:txBody>
            </p:sp>
          </p:grpSp>
        </p:grpSp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9455" y="1504121"/>
              <a:ext cx="918158" cy="104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9" name="Gruppieren 38"/>
            <p:cNvGrpSpPr/>
            <p:nvPr/>
          </p:nvGrpSpPr>
          <p:grpSpPr>
            <a:xfrm>
              <a:off x="1847612" y="1645314"/>
              <a:ext cx="6519625" cy="750539"/>
              <a:chOff x="1473853" y="1630393"/>
              <a:chExt cx="6872189" cy="791126"/>
            </a:xfrm>
          </p:grpSpPr>
          <p:sp>
            <p:nvSpPr>
              <p:cNvPr id="9" name="Textfeld 8"/>
              <p:cNvSpPr txBox="1"/>
              <p:nvPr/>
            </p:nvSpPr>
            <p:spPr>
              <a:xfrm>
                <a:off x="1473853" y="1630393"/>
                <a:ext cx="1199407" cy="6812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>
                    <a:latin typeface="+mj-lt"/>
                  </a:rPr>
                  <a:t>814</a:t>
                </a:r>
              </a:p>
              <a:p>
                <a:pPr algn="ctr"/>
                <a:r>
                  <a:rPr lang="de-DE" sz="1800" dirty="0">
                    <a:latin typeface="+mj-lt"/>
                  </a:rPr>
                  <a:t>Aktien</a:t>
                </a:r>
              </a:p>
            </p:txBody>
          </p:sp>
          <p:sp>
            <p:nvSpPr>
              <p:cNvPr id="10" name="Textfeld 9"/>
              <p:cNvSpPr txBox="1"/>
              <p:nvPr/>
            </p:nvSpPr>
            <p:spPr>
              <a:xfrm>
                <a:off x="2401538" y="1642910"/>
                <a:ext cx="1626919" cy="6812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>
                    <a:latin typeface="+mj-lt"/>
                  </a:rPr>
                  <a:t>5.781</a:t>
                </a:r>
                <a:endParaRPr lang="de-DE" sz="1800" b="1" dirty="0">
                  <a:latin typeface="+mj-lt"/>
                </a:endParaRPr>
              </a:p>
              <a:p>
                <a:pPr algn="ctr"/>
                <a:r>
                  <a:rPr lang="de-DE" sz="1800" dirty="0">
                    <a:latin typeface="+mj-lt"/>
                  </a:rPr>
                  <a:t>Anleihen</a:t>
                </a:r>
              </a:p>
            </p:txBody>
          </p:sp>
          <p:sp>
            <p:nvSpPr>
              <p:cNvPr id="11" name="Textfeld 10"/>
              <p:cNvSpPr txBox="1"/>
              <p:nvPr/>
            </p:nvSpPr>
            <p:spPr>
              <a:xfrm>
                <a:off x="3557709" y="1642910"/>
                <a:ext cx="2572863" cy="6812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>
                    <a:latin typeface="+mj-lt"/>
                  </a:rPr>
                  <a:t>1.168</a:t>
                </a:r>
                <a:endParaRPr lang="de-DE" sz="1800" b="1" dirty="0">
                  <a:latin typeface="+mj-lt"/>
                </a:endParaRPr>
              </a:p>
              <a:p>
                <a:pPr algn="ctr"/>
                <a:r>
                  <a:rPr lang="de-DE" sz="1800" dirty="0">
                    <a:latin typeface="+mj-lt"/>
                  </a:rPr>
                  <a:t>Optionsscheine</a:t>
                </a:r>
              </a:p>
            </p:txBody>
          </p:sp>
          <p:sp>
            <p:nvSpPr>
              <p:cNvPr id="12" name="Textfeld 11"/>
              <p:cNvSpPr txBox="1"/>
              <p:nvPr/>
            </p:nvSpPr>
            <p:spPr>
              <a:xfrm>
                <a:off x="5508020" y="1642910"/>
                <a:ext cx="2080161" cy="6812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>
                    <a:latin typeface="+mj-lt"/>
                  </a:rPr>
                  <a:t>6.703</a:t>
                </a:r>
                <a:endParaRPr lang="de-DE" sz="1800" b="1" dirty="0">
                  <a:latin typeface="+mj-lt"/>
                </a:endParaRPr>
              </a:p>
              <a:p>
                <a:pPr algn="ctr"/>
                <a:r>
                  <a:rPr lang="de-DE" sz="1800" dirty="0">
                    <a:latin typeface="+mj-lt"/>
                  </a:rPr>
                  <a:t>Zertifikate</a:t>
                </a:r>
              </a:p>
            </p:txBody>
          </p:sp>
          <p:sp>
            <p:nvSpPr>
              <p:cNvPr id="13" name="Textfeld 12"/>
              <p:cNvSpPr txBox="1"/>
              <p:nvPr/>
            </p:nvSpPr>
            <p:spPr>
              <a:xfrm>
                <a:off x="7146635" y="1642910"/>
                <a:ext cx="1199407" cy="7786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>
                    <a:latin typeface="+mj-lt"/>
                  </a:rPr>
                  <a:t>114</a:t>
                </a:r>
                <a:endParaRPr lang="de-DE" sz="1800" b="1" dirty="0">
                  <a:latin typeface="+mj-lt"/>
                </a:endParaRPr>
              </a:p>
              <a:p>
                <a:pPr algn="ctr"/>
                <a:r>
                  <a:rPr lang="de-DE" sz="1800" dirty="0">
                    <a:latin typeface="+mj-lt"/>
                  </a:rPr>
                  <a:t>ETF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4248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sjbba81UKTIBEG2o8jx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JrrzmRFKI5pRltP7p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PsMp9TQxSC8T1icJ4c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.k28RlT461H0h9sefc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uW__VNReKlvNsg0yfi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zuxJ75TiCKG5q.HtS6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lDSlC.RuecD6jEQTTJ3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ns36bhRyKMA4xHML9T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XKtqHgQT.StKt3KyZq.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1DoETFQdqOtDjC19VC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bwT2dsT6S9ku093ak.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sjbba81UKTIBEG2o8j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tbSiOjROetrocS_1kF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blVnTAQkWHfJNnClrd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05o4gJQAKBCVFvYWai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rVlTb0S12KlbxeCDUU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Nk628yR0CJVKxa0EHh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pQ8vNSx.Irw_hX5XJm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05o4gJQAKBCVFvYWai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zuxJ75TiCKG5q.HtS6S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vSVmQbtEqnLIZM8OXLy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vSVmQbtEqnLIZM8OXL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fbXIMcdEuSR_9qYZrP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05o4gJQAKBCVFvYWai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05o4gJQAKBCVFvYWai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Gomtq9Qru4EJ1zUO5.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JrrzmRFKI5pRltP7p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PsMp9TQxSC8T1icJ4cX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.k28RlT461H0h9sefcr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uW__VNReKlvNsg0yfi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zuxJ75TiCKG5q.HtS6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lDSlC.RuecD6jEQTTJ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vSVmQbtEqnLIZM8OXLy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ns36bhRyKMA4xHML9T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XKtqHgQT.StKt3KyZq.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1DoETFQdqOtDjC19VCP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bwT2dsT6S9ku093ak.c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tbSiOjROetrocS_1kF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blVnTAQkWHfJNnClrdi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05o4gJQAKBCVFvYWaiG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rVlTb0S12KlbxeCDUU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Nk628yR0CJVKxa0EHhF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pQ8vNSx.Irw_hX5XJ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vSVmQbtEqnLIZM8OXLy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05o4gJQAKBCVFvYWaiG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zuxJ75TiCKG5q.HtS6S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vSVmQbtEqnLIZM8OXLy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vSVmQbtEqnLIZM8OXLy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05o4gJQAKBCVFvYWaiG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05o4gJQAKBCVFvYWai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vSVmQbtEqnLIZM8OXL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vSVmQbtEqnLIZM8OXL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Gomtq9Qru4EJ1zUO5.ew"/>
</p:tagLst>
</file>

<file path=ppt/theme/theme1.xml><?xml version="1.0" encoding="utf-8"?>
<a:theme xmlns:a="http://schemas.openxmlformats.org/drawingml/2006/main" name="Folienmaster neu_16.9">
  <a:themeElements>
    <a:clrScheme name="Benutzerdefiniert 1">
      <a:dk1>
        <a:srgbClr val="000000"/>
      </a:dk1>
      <a:lt1>
        <a:srgbClr val="FFFFFF"/>
      </a:lt1>
      <a:dk2>
        <a:srgbClr val="D9D9D9"/>
      </a:dk2>
      <a:lt2>
        <a:srgbClr val="808080"/>
      </a:lt2>
      <a:accent1>
        <a:srgbClr val="D71920"/>
      </a:accent1>
      <a:accent2>
        <a:srgbClr val="5C646C"/>
      </a:accent2>
      <a:accent3>
        <a:srgbClr val="B3BCC2"/>
      </a:accent3>
      <a:accent4>
        <a:srgbClr val="D6DADE"/>
      </a:accent4>
      <a:accent5>
        <a:srgbClr val="C8AC7C"/>
      </a:accent5>
      <a:accent6>
        <a:srgbClr val="007AA2"/>
      </a:accent6>
      <a:hlink>
        <a:srgbClr val="349491"/>
      </a:hlink>
      <a:folHlink>
        <a:srgbClr val="15515A"/>
      </a:folHlink>
    </a:clrScheme>
    <a:fontScheme name="Wiener Boers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D1001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9D9D9"/>
        </a:accent1>
        <a:accent2>
          <a:srgbClr val="585858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4F4F4F"/>
        </a:accent6>
        <a:hlink>
          <a:srgbClr val="D1001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Vorlage Wiener Börse.potx" id="{E071C3A6-AF94-4AE2-9D16-FDF032348DB7}" vid="{8981962E-5C7C-4162-A4C9-D8B2E9277BEC}"/>
    </a:ext>
  </a:extLst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07</Words>
  <Application>Microsoft Office PowerPoint</Application>
  <PresentationFormat>Bildschirmpräsentation (16:9)</PresentationFormat>
  <Paragraphs>204</Paragraphs>
  <Slides>15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5</vt:i4>
      </vt:variant>
    </vt:vector>
  </HeadingPairs>
  <TitlesOfParts>
    <vt:vector size="23" baseType="lpstr">
      <vt:lpstr>Arial</vt:lpstr>
      <vt:lpstr>Calibri</vt:lpstr>
      <vt:lpstr>Calibri Light</vt:lpstr>
      <vt:lpstr>Wingdings</vt:lpstr>
      <vt:lpstr>Folienmaster neu_16.9</vt:lpstr>
      <vt:lpstr>Benutzerdefiniertes Design</vt:lpstr>
      <vt:lpstr>think-cell Folie</vt:lpstr>
      <vt:lpstr>Chart</vt:lpstr>
      <vt:lpstr>The Next 250.</vt:lpstr>
      <vt:lpstr>PowerPoint-Präsentation</vt:lpstr>
      <vt:lpstr>PowerPoint-Präsentation</vt:lpstr>
      <vt:lpstr> </vt:lpstr>
      <vt:lpstr> </vt:lpstr>
      <vt:lpstr>Virtuelle Geburtstagsgrüße zum Jubiläum </vt:lpstr>
      <vt:lpstr>PowerPoint-Präsentation</vt:lpstr>
      <vt:lpstr>PowerPoint-Präsentation</vt:lpstr>
      <vt:lpstr>Die Wiener Börse auf einen Blick</vt:lpstr>
      <vt:lpstr>Vienna Stock Exchange at a glance</vt:lpstr>
      <vt:lpstr>Die Wiener Börse AG Hohe Diversifizierung und starkes Netzwerk </vt:lpstr>
      <vt:lpstr>The company Wiener Börse AG has diversified revenue streams and a strong network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Next 250.</dc:title>
  <dc:creator>RESCH, Julia</dc:creator>
  <cp:lastModifiedBy>FRANK, Stephanie</cp:lastModifiedBy>
  <cp:revision>57</cp:revision>
  <dcterms:created xsi:type="dcterms:W3CDTF">2020-12-11T13:52:41Z</dcterms:created>
  <dcterms:modified xsi:type="dcterms:W3CDTF">2021-01-13T14:14:50Z</dcterms:modified>
</cp:coreProperties>
</file>